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948" r:id="rId1"/>
    <p:sldMasterId id="2147484043" r:id="rId2"/>
  </p:sldMasterIdLst>
  <p:notesMasterIdLst>
    <p:notesMasterId r:id="rId10"/>
  </p:notesMasterIdLst>
  <p:handoutMasterIdLst>
    <p:handoutMasterId r:id="rId11"/>
  </p:handoutMasterIdLst>
  <p:sldIdLst>
    <p:sldId id="350" r:id="rId3"/>
    <p:sldId id="427" r:id="rId4"/>
    <p:sldId id="499" r:id="rId5"/>
    <p:sldId id="490" r:id="rId6"/>
    <p:sldId id="487" r:id="rId7"/>
    <p:sldId id="488" r:id="rId8"/>
    <p:sldId id="495" r:id="rId9"/>
  </p:sldIdLst>
  <p:sldSz cx="9144000" cy="5143500" type="screen16x9"/>
  <p:notesSz cx="7010400" cy="9296400"/>
  <p:custDataLst>
    <p:tags r:id="rId12"/>
  </p:custDataLst>
  <p:defaultTextStyle>
    <a:defPPr>
      <a:defRPr lang="en-US"/>
    </a:defPPr>
    <a:lvl1pPr algn="r" rtl="0" eaLnBrk="0" fontAlgn="base" hangingPunct="0">
      <a:spcBef>
        <a:spcPct val="50000"/>
      </a:spcBef>
      <a:spcAft>
        <a:spcPct val="0"/>
      </a:spcAft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121" algn="r" rtl="0" eaLnBrk="0" fontAlgn="base" hangingPunct="0">
      <a:spcBef>
        <a:spcPct val="50000"/>
      </a:spcBef>
      <a:spcAft>
        <a:spcPct val="0"/>
      </a:spcAft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241" algn="r" rtl="0" eaLnBrk="0" fontAlgn="base" hangingPunct="0">
      <a:spcBef>
        <a:spcPct val="50000"/>
      </a:spcBef>
      <a:spcAft>
        <a:spcPct val="0"/>
      </a:spcAft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361" algn="r" rtl="0" eaLnBrk="0" fontAlgn="base" hangingPunct="0">
      <a:spcBef>
        <a:spcPct val="50000"/>
      </a:spcBef>
      <a:spcAft>
        <a:spcPct val="0"/>
      </a:spcAft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481" algn="r" rtl="0" eaLnBrk="0" fontAlgn="base" hangingPunct="0">
      <a:spcBef>
        <a:spcPct val="50000"/>
      </a:spcBef>
      <a:spcAft>
        <a:spcPct val="0"/>
      </a:spcAft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5601" algn="l" defTabSz="914241" rtl="0" eaLnBrk="1" latinLnBrk="0" hangingPunct="1"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2719" algn="l" defTabSz="914241" rtl="0" eaLnBrk="1" latinLnBrk="0" hangingPunct="1"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199841" algn="l" defTabSz="914241" rtl="0" eaLnBrk="1" latinLnBrk="0" hangingPunct="1"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6960" algn="l" defTabSz="914241" rtl="0" eaLnBrk="1" latinLnBrk="0" hangingPunct="1"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4">
          <p15:clr>
            <a:srgbClr val="A4A3A4"/>
          </p15:clr>
        </p15:guide>
        <p15:guide id="2" orient="horz" pos="912">
          <p15:clr>
            <a:srgbClr val="A4A3A4"/>
          </p15:clr>
        </p15:guide>
        <p15:guide id="3" orient="horz" pos="4083">
          <p15:clr>
            <a:srgbClr val="A4A3A4"/>
          </p15:clr>
        </p15:guide>
        <p15:guide id="4" orient="horz" pos="273">
          <p15:clr>
            <a:srgbClr val="A4A3A4"/>
          </p15:clr>
        </p15:guide>
        <p15:guide id="5" orient="horz" pos="55">
          <p15:clr>
            <a:srgbClr val="A4A3A4"/>
          </p15:clr>
        </p15:guide>
        <p15:guide id="6" orient="horz" pos="4024">
          <p15:clr>
            <a:srgbClr val="A4A3A4"/>
          </p15:clr>
        </p15:guide>
        <p15:guide id="7" orient="horz" pos="2447">
          <p15:clr>
            <a:srgbClr val="A4A3A4"/>
          </p15:clr>
        </p15:guide>
        <p15:guide id="8" orient="horz" pos="1969">
          <p15:clr>
            <a:srgbClr val="A4A3A4"/>
          </p15:clr>
        </p15:guide>
        <p15:guide id="9" orient="horz" pos="2686">
          <p15:clr>
            <a:srgbClr val="A4A3A4"/>
          </p15:clr>
        </p15:guide>
        <p15:guide id="10" pos="2880">
          <p15:clr>
            <a:srgbClr val="A4A3A4"/>
          </p15:clr>
        </p15:guide>
        <p15:guide id="11" pos="3167">
          <p15:clr>
            <a:srgbClr val="A4A3A4"/>
          </p15:clr>
        </p15:guide>
        <p15:guide id="12" pos="5712">
          <p15:clr>
            <a:srgbClr val="A4A3A4"/>
          </p15:clr>
        </p15:guide>
        <p15:guide id="13" pos="1320">
          <p15:clr>
            <a:srgbClr val="A4A3A4"/>
          </p15:clr>
        </p15:guide>
        <p15:guide id="14" pos="4440">
          <p15:clr>
            <a:srgbClr val="A4A3A4"/>
          </p15:clr>
        </p15:guide>
        <p15:guide id="15" pos="45">
          <p15:clr>
            <a:srgbClr val="A4A3A4"/>
          </p15:clr>
        </p15:guide>
        <p15:guide id="16" pos="2593">
          <p15:clr>
            <a:srgbClr val="A4A3A4"/>
          </p15:clr>
        </p15:guide>
        <p15:guide id="17" pos="5456">
          <p15:clr>
            <a:srgbClr val="A4A3A4"/>
          </p15:clr>
        </p15:guide>
        <p15:guide id="18" orient="horz" pos="1327">
          <p15:clr>
            <a:srgbClr val="A4A3A4"/>
          </p15:clr>
        </p15:guide>
        <p15:guide id="19" pos="287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6">
          <p15:clr>
            <a:srgbClr val="A4A3A4"/>
          </p15:clr>
        </p15:guide>
        <p15:guide id="2" pos="2206">
          <p15:clr>
            <a:srgbClr val="A4A3A4"/>
          </p15:clr>
        </p15:guide>
        <p15:guide id="3" orient="horz" pos="2929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owlader, Priom" initials="HP" lastIdx="2" clrIdx="0"/>
  <p:cmAuthor id="1" name="Thomas, Sasha" initials="TS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1B2E"/>
    <a:srgbClr val="5A5A5A"/>
    <a:srgbClr val="949494"/>
    <a:srgbClr val="323232"/>
    <a:srgbClr val="FCE4E5"/>
    <a:srgbClr val="6D5560"/>
    <a:srgbClr val="FFFFFF"/>
    <a:srgbClr val="FAE164"/>
    <a:srgbClr val="495965"/>
    <a:srgbClr val="679E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07" autoAdjust="0"/>
    <p:restoredTop sz="74438" autoAdjust="0"/>
  </p:normalViewPr>
  <p:slideViewPr>
    <p:cSldViewPr snapToGrid="0" showGuides="1">
      <p:cViewPr varScale="1">
        <p:scale>
          <a:sx n="108" d="100"/>
          <a:sy n="108" d="100"/>
        </p:scale>
        <p:origin x="1062" y="102"/>
      </p:cViewPr>
      <p:guideLst>
        <p:guide orient="horz" pos="384"/>
        <p:guide orient="horz" pos="912"/>
        <p:guide orient="horz" pos="4083"/>
        <p:guide orient="horz" pos="273"/>
        <p:guide orient="horz" pos="55"/>
        <p:guide orient="horz" pos="4024"/>
        <p:guide orient="horz" pos="2447"/>
        <p:guide orient="horz" pos="1969"/>
        <p:guide orient="horz" pos="2686"/>
        <p:guide pos="2880"/>
        <p:guide pos="3167"/>
        <p:guide pos="5712"/>
        <p:guide pos="1320"/>
        <p:guide pos="4440"/>
        <p:guide pos="45"/>
        <p:guide pos="2593"/>
        <p:guide pos="5456"/>
        <p:guide orient="horz" pos="1327"/>
        <p:guide pos="2879"/>
      </p:guideLst>
    </p:cSldViewPr>
  </p:slideViewPr>
  <p:outlineViewPr>
    <p:cViewPr>
      <p:scale>
        <a:sx n="33" d="100"/>
        <a:sy n="33" d="100"/>
      </p:scale>
      <p:origin x="29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8" d="100"/>
          <a:sy n="68" d="100"/>
        </p:scale>
        <p:origin x="-2826" y="-120"/>
      </p:cViewPr>
      <p:guideLst>
        <p:guide orient="horz" pos="2906"/>
        <p:guide pos="2206"/>
        <p:guide orient="horz" pos="2929"/>
        <p:guide pos="2208"/>
      </p:guideLst>
    </p:cSldViewPr>
  </p:notesViewPr>
  <p:gridSpacing cx="180023" cy="180023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2"/>
            <a:ext cx="3038145" cy="464205"/>
          </a:xfrm>
          <a:prstGeom prst="rect">
            <a:avLst/>
          </a:prstGeom>
        </p:spPr>
        <p:txBody>
          <a:bodyPr vert="horz" lIns="88073" tIns="44040" rIns="88073" bIns="4404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734" y="2"/>
            <a:ext cx="3038145" cy="464205"/>
          </a:xfrm>
          <a:prstGeom prst="rect">
            <a:avLst/>
          </a:prstGeom>
        </p:spPr>
        <p:txBody>
          <a:bodyPr vert="horz" lIns="88073" tIns="44040" rIns="88073" bIns="44040" rtlCol="0"/>
          <a:lstStyle>
            <a:lvl1pPr algn="r">
              <a:defRPr sz="1200"/>
            </a:lvl1pPr>
          </a:lstStyle>
          <a:p>
            <a:fld id="{E7E55691-4C3D-43DA-ABC0-6255FA32A160}" type="datetimeFigureOut">
              <a:rPr lang="en-US" smtClean="0"/>
              <a:t>6/1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" y="8830660"/>
            <a:ext cx="3038145" cy="464205"/>
          </a:xfrm>
          <a:prstGeom prst="rect">
            <a:avLst/>
          </a:prstGeom>
        </p:spPr>
        <p:txBody>
          <a:bodyPr vert="horz" lIns="88073" tIns="44040" rIns="88073" bIns="4404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734" y="8830660"/>
            <a:ext cx="3038145" cy="464205"/>
          </a:xfrm>
          <a:prstGeom prst="rect">
            <a:avLst/>
          </a:prstGeom>
        </p:spPr>
        <p:txBody>
          <a:bodyPr vert="horz" lIns="88073" tIns="44040" rIns="88073" bIns="44040" rtlCol="0" anchor="b"/>
          <a:lstStyle>
            <a:lvl1pPr algn="r">
              <a:defRPr sz="1200"/>
            </a:lvl1pPr>
          </a:lstStyle>
          <a:p>
            <a:fld id="{47F2BE39-ED0B-4AA5-8551-E85F9131E0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6849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3"/>
            <a:ext cx="3038145" cy="464205"/>
          </a:xfrm>
          <a:prstGeom prst="rect">
            <a:avLst/>
          </a:prstGeom>
        </p:spPr>
        <p:txBody>
          <a:bodyPr vert="horz" lIns="88061" tIns="44032" rIns="88061" bIns="44032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734" y="3"/>
            <a:ext cx="3038145" cy="464205"/>
          </a:xfrm>
          <a:prstGeom prst="rect">
            <a:avLst/>
          </a:prstGeom>
        </p:spPr>
        <p:txBody>
          <a:bodyPr vert="horz" lIns="88061" tIns="44032" rIns="88061" bIns="44032" rtlCol="0"/>
          <a:lstStyle>
            <a:lvl1pPr algn="r">
              <a:defRPr sz="1200"/>
            </a:lvl1pPr>
          </a:lstStyle>
          <a:p>
            <a:fld id="{68EC6EAE-718E-4C4E-A830-7FEEA81DF6AC}" type="datetimeFigureOut">
              <a:rPr lang="en-CA" smtClean="0"/>
              <a:t>2018-06-11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96913"/>
            <a:ext cx="6200775" cy="3489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061" tIns="44032" rIns="88061" bIns="44032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353" y="4416106"/>
            <a:ext cx="5607710" cy="4182457"/>
          </a:xfrm>
          <a:prstGeom prst="rect">
            <a:avLst/>
          </a:prstGeom>
        </p:spPr>
        <p:txBody>
          <a:bodyPr vert="horz" lIns="88061" tIns="44032" rIns="88061" bIns="4403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" y="8830661"/>
            <a:ext cx="3038145" cy="464205"/>
          </a:xfrm>
          <a:prstGeom prst="rect">
            <a:avLst/>
          </a:prstGeom>
        </p:spPr>
        <p:txBody>
          <a:bodyPr vert="horz" lIns="88061" tIns="44032" rIns="88061" bIns="44032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734" y="8830661"/>
            <a:ext cx="3038145" cy="464205"/>
          </a:xfrm>
          <a:prstGeom prst="rect">
            <a:avLst/>
          </a:prstGeom>
        </p:spPr>
        <p:txBody>
          <a:bodyPr vert="horz" lIns="88061" tIns="44032" rIns="88061" bIns="44032" rtlCol="0" anchor="b"/>
          <a:lstStyle>
            <a:lvl1pPr algn="r">
              <a:defRPr sz="1200"/>
            </a:lvl1pPr>
          </a:lstStyle>
          <a:p>
            <a:fld id="{3D2DE71B-708B-4E28-85FE-2E05DF29CB8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889057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21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41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61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81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01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19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41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60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93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DE71B-708B-4E28-85FE-2E05DF29CB80}" type="slidenum">
              <a:rPr lang="en-CA" smtClean="0">
                <a:solidFill>
                  <a:prstClr val="black"/>
                </a:solidFill>
              </a:rPr>
              <a:pPr/>
              <a:t>0</a:t>
            </a:fld>
            <a:endParaRPr lang="en-C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229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93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baseline="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DE71B-708B-4E28-85FE-2E05DF29CB80}" type="slidenum">
              <a:rPr lang="en-CA" smtClean="0"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187996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93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baseline="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DE71B-708B-4E28-85FE-2E05DF29CB80}" type="slidenum">
              <a:rPr lang="en-CA" smtClean="0"/>
              <a:t>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920107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93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DE71B-708B-4E28-85FE-2E05DF29CB80}" type="slidenum">
              <a:rPr lang="en-CA" smtClean="0"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187996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93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DE71B-708B-4E28-85FE-2E05DF29CB80}" type="slidenum">
              <a:rPr lang="en-CA" smtClean="0"/>
              <a:t>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187996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4813" y="696913"/>
            <a:ext cx="6200775" cy="34893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b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DE71B-708B-4E28-85FE-2E05DF29CB80}" type="slidenum">
              <a:rPr lang="en-CA" smtClean="0"/>
              <a:t>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187996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DE71B-708B-4E28-85FE-2E05DF29CB80}" type="slidenum">
              <a:rPr lang="en-CA" smtClean="0"/>
              <a:t>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53577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(W/ 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0" y="2900521"/>
            <a:ext cx="9144000" cy="226314"/>
          </a:xfrm>
        </p:spPr>
        <p:txBody>
          <a:bodyPr rIns="0" anchor="ctr">
            <a:normAutofit/>
          </a:bodyPr>
          <a:lstStyle>
            <a:lvl1pPr algn="ctr">
              <a:defRPr sz="1000">
                <a:solidFill>
                  <a:srgbClr val="5A5A5A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0" y="2655214"/>
            <a:ext cx="9144000" cy="228600"/>
          </a:xfrm>
        </p:spPr>
        <p:txBody>
          <a:bodyPr lIns="0" rIns="0" anchor="ctr">
            <a:normAutofit/>
          </a:bodyPr>
          <a:lstStyle>
            <a:lvl1pPr marL="0" indent="0" algn="ctr">
              <a:buNone/>
              <a:defRPr sz="1400">
                <a:solidFill>
                  <a:srgbClr val="5A5A5A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4571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1" y="2240878"/>
            <a:ext cx="9144000" cy="414338"/>
          </a:xfrm>
        </p:spPr>
        <p:txBody>
          <a:bodyPr lIns="0" rIns="0" anchor="ctr">
            <a:noAutofit/>
          </a:bodyPr>
          <a:lstStyle>
            <a:lvl1pPr algn="ctr">
              <a:defRPr sz="3200">
                <a:solidFill>
                  <a:srgbClr val="5A5A5A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6471" y="4457704"/>
            <a:ext cx="2186504" cy="433595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366642" y="264221"/>
            <a:ext cx="685800" cy="514350"/>
          </a:xfrm>
          <a:prstGeom prst="rect">
            <a:avLst/>
          </a:prstGeom>
          <a:solidFill>
            <a:srgbClr val="EC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3" rIns="91424" bIns="45713" rtlCol="0" anchor="ctr"/>
          <a:lstStyle/>
          <a:p>
            <a:pPr algn="ctr"/>
            <a:endParaRPr lang="en-CA"/>
          </a:p>
        </p:txBody>
      </p:sp>
      <p:sp>
        <p:nvSpPr>
          <p:cNvPr id="20" name="Rectangle 19"/>
          <p:cNvSpPr/>
          <p:nvPr userDrawn="1"/>
        </p:nvSpPr>
        <p:spPr>
          <a:xfrm>
            <a:off x="366642" y="914400"/>
            <a:ext cx="685800" cy="514350"/>
          </a:xfrm>
          <a:prstGeom prst="rect">
            <a:avLst/>
          </a:prstGeom>
          <a:solidFill>
            <a:srgbClr val="EC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3" rIns="91424" bIns="45713" rtlCol="0" anchor="ctr"/>
          <a:lstStyle/>
          <a:p>
            <a:pPr algn="ctr"/>
            <a:endParaRPr lang="en-CA"/>
          </a:p>
        </p:txBody>
      </p:sp>
      <p:sp>
        <p:nvSpPr>
          <p:cNvPr id="21" name="Rectangle 20"/>
          <p:cNvSpPr/>
          <p:nvPr userDrawn="1"/>
        </p:nvSpPr>
        <p:spPr>
          <a:xfrm>
            <a:off x="1219200" y="264221"/>
            <a:ext cx="685800" cy="514350"/>
          </a:xfrm>
          <a:prstGeom prst="rect">
            <a:avLst/>
          </a:prstGeom>
          <a:solidFill>
            <a:srgbClr val="EC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3" rIns="91424" bIns="45713"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926996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3" y="60471"/>
            <a:ext cx="8988552" cy="264570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3013" y="454823"/>
            <a:ext cx="2743200" cy="4320779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195689" y="454823"/>
            <a:ext cx="2743200" cy="4320779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6318365" y="454823"/>
            <a:ext cx="2743200" cy="4320779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877367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60471"/>
            <a:ext cx="8997696" cy="264570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71500" y="465516"/>
            <a:ext cx="8997696" cy="1351026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71500" y="1945542"/>
            <a:ext cx="8997696" cy="1351026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2"/>
          </p:nvPr>
        </p:nvSpPr>
        <p:spPr>
          <a:xfrm>
            <a:off x="71500" y="3425569"/>
            <a:ext cx="8997696" cy="1351026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305447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page m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3" y="65486"/>
            <a:ext cx="8988552" cy="259557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3013" y="454823"/>
            <a:ext cx="2743200" cy="4320779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347869" y="465535"/>
            <a:ext cx="5713701" cy="1878806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3347869" y="2913464"/>
            <a:ext cx="5713701" cy="1877615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939252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r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60471"/>
            <a:ext cx="8997696" cy="264570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1498" y="464973"/>
            <a:ext cx="4041648" cy="1879092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5029201" y="464955"/>
            <a:ext cx="4041648" cy="1879092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1"/>
          </p:nvPr>
        </p:nvSpPr>
        <p:spPr>
          <a:xfrm>
            <a:off x="71498" y="2912001"/>
            <a:ext cx="4041648" cy="1879092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2"/>
          </p:nvPr>
        </p:nvSpPr>
        <p:spPr>
          <a:xfrm>
            <a:off x="5029201" y="2911983"/>
            <a:ext cx="4041648" cy="1879092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523461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 Page w/headings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8" y="60470"/>
            <a:ext cx="8997696" cy="267462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/>
          </p:nvPr>
        </p:nvSpPr>
        <p:spPr>
          <a:xfrm>
            <a:off x="71438" y="750098"/>
            <a:ext cx="8997696" cy="1594247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71438" y="465516"/>
            <a:ext cx="8997696" cy="288036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7" name="Content Placeholder 2"/>
          <p:cNvSpPr>
            <a:spLocks noGrp="1"/>
          </p:cNvSpPr>
          <p:nvPr>
            <p:ph idx="21"/>
          </p:nvPr>
        </p:nvSpPr>
        <p:spPr>
          <a:xfrm>
            <a:off x="71443" y="3196832"/>
            <a:ext cx="8996361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71443" y="2912251"/>
            <a:ext cx="8996361" cy="285770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3417699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w/headings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8" y="60470"/>
            <a:ext cx="8997696" cy="267462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/>
          </p:nvPr>
        </p:nvSpPr>
        <p:spPr>
          <a:xfrm>
            <a:off x="71438" y="750098"/>
            <a:ext cx="8997696" cy="1594247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71438" y="465516"/>
            <a:ext cx="8997696" cy="288036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7" name="Content Placeholder 2"/>
          <p:cNvSpPr>
            <a:spLocks noGrp="1"/>
          </p:cNvSpPr>
          <p:nvPr>
            <p:ph idx="21"/>
          </p:nvPr>
        </p:nvSpPr>
        <p:spPr>
          <a:xfrm>
            <a:off x="71443" y="3196832"/>
            <a:ext cx="8996361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71443" y="2912251"/>
            <a:ext cx="8996361" cy="285770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7675740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rter pagel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40" y="60470"/>
            <a:ext cx="8999270" cy="267462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1" name="Content Placeholder 2"/>
          <p:cNvSpPr>
            <a:spLocks noGrp="1"/>
          </p:cNvSpPr>
          <p:nvPr>
            <p:ph idx="10"/>
          </p:nvPr>
        </p:nvSpPr>
        <p:spPr>
          <a:xfrm>
            <a:off x="5027676" y="750098"/>
            <a:ext cx="4041648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7676" y="465518"/>
            <a:ext cx="4041648" cy="28457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71443" y="750098"/>
            <a:ext cx="4044949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1443" y="465538"/>
            <a:ext cx="4044949" cy="284558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5027676" y="3196832"/>
            <a:ext cx="4041648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5027676" y="2912248"/>
            <a:ext cx="4041648" cy="285770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1" name="Content Placeholder 2"/>
          <p:cNvSpPr>
            <a:spLocks noGrp="1"/>
          </p:cNvSpPr>
          <p:nvPr>
            <p:ph idx="21"/>
          </p:nvPr>
        </p:nvSpPr>
        <p:spPr>
          <a:xfrm>
            <a:off x="71439" y="3196832"/>
            <a:ext cx="4041648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71439" y="2912251"/>
            <a:ext cx="4041648" cy="285770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623811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page mix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60471"/>
            <a:ext cx="8997696" cy="264570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1440" y="750098"/>
            <a:ext cx="2744774" cy="4040981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71440" y="465534"/>
            <a:ext cx="2744774" cy="284560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0" name="Content Placeholder 2"/>
          <p:cNvSpPr>
            <a:spLocks noGrp="1"/>
          </p:cNvSpPr>
          <p:nvPr>
            <p:ph idx="17"/>
          </p:nvPr>
        </p:nvSpPr>
        <p:spPr>
          <a:xfrm>
            <a:off x="3357501" y="750098"/>
            <a:ext cx="5710300" cy="1594247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3357501" y="465535"/>
            <a:ext cx="5710300" cy="284558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6" name="Content Placeholder 2"/>
          <p:cNvSpPr>
            <a:spLocks noGrp="1"/>
          </p:cNvSpPr>
          <p:nvPr>
            <p:ph idx="19"/>
          </p:nvPr>
        </p:nvSpPr>
        <p:spPr>
          <a:xfrm>
            <a:off x="3357501" y="3198023"/>
            <a:ext cx="5710300" cy="1594247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357501" y="2913460"/>
            <a:ext cx="5710300" cy="284558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7426181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vertical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40" y="60470"/>
            <a:ext cx="8990126" cy="267462"/>
          </a:xfrm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9" name="Content Placeholder 2"/>
          <p:cNvSpPr>
            <a:spLocks noGrp="1"/>
          </p:cNvSpPr>
          <p:nvPr>
            <p:ph idx="17"/>
          </p:nvPr>
        </p:nvSpPr>
        <p:spPr>
          <a:xfrm>
            <a:off x="71440" y="750098"/>
            <a:ext cx="2744774" cy="4040981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71440" y="465534"/>
            <a:ext cx="2744774" cy="284560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2" name="Content Placeholder 2"/>
          <p:cNvSpPr>
            <a:spLocks noGrp="1"/>
          </p:cNvSpPr>
          <p:nvPr>
            <p:ph idx="19"/>
          </p:nvPr>
        </p:nvSpPr>
        <p:spPr>
          <a:xfrm>
            <a:off x="6323026" y="750098"/>
            <a:ext cx="2744774" cy="4040981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6323026" y="465534"/>
            <a:ext cx="2744774" cy="284560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6" name="Content Placeholder 2"/>
          <p:cNvSpPr>
            <a:spLocks noGrp="1"/>
          </p:cNvSpPr>
          <p:nvPr>
            <p:ph idx="21"/>
          </p:nvPr>
        </p:nvSpPr>
        <p:spPr>
          <a:xfrm>
            <a:off x="3205891" y="750098"/>
            <a:ext cx="2744774" cy="4040981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3205891" y="465534"/>
            <a:ext cx="2744774" cy="284560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910817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horizonal w/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60470"/>
            <a:ext cx="8997696" cy="267462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71500" y="750094"/>
            <a:ext cx="8997696" cy="1053332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71500" y="465516"/>
            <a:ext cx="8997696" cy="284578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71500" y="3737743"/>
            <a:ext cx="8997696" cy="1053332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71500" y="3453165"/>
            <a:ext cx="8997696" cy="284578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71500" y="2255362"/>
            <a:ext cx="8997696" cy="1053332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71500" y="1970784"/>
            <a:ext cx="8997696" cy="284578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35242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7426" y="142358"/>
            <a:ext cx="8789159" cy="264570"/>
          </a:xfrm>
        </p:spPr>
        <p:txBody>
          <a:bodyPr lIns="0" tIns="0" rIns="0" bIns="0"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177424" y="675566"/>
            <a:ext cx="8802807" cy="3951027"/>
          </a:xfrm>
        </p:spPr>
        <p:txBody>
          <a:bodyPr lIns="0" tIns="0" rIns="0" bIns="0"/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latin typeface="Calibri" panose="020F0502020204030204" pitchFamily="34" charset="0"/>
              </a:defRPr>
            </a:lvl1pPr>
            <a:lvl2pPr marL="453946" marR="0" indent="-279351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>
                <a:latin typeface="Calibri" panose="020F0502020204030204" pitchFamily="34" charset="0"/>
              </a:defRPr>
            </a:lvl2pPr>
            <a:lvl3pPr marL="971381" marR="0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>
                <a:latin typeface="Calibri" panose="020F0502020204030204" pitchFamily="34" charset="0"/>
              </a:defRPr>
            </a:lvl3pPr>
            <a:lvl4pPr marL="1485641" marR="0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>
                <a:latin typeface="Calibri" panose="020F0502020204030204" pitchFamily="34" charset="0"/>
              </a:defRPr>
            </a:lvl4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453946" marR="0" lvl="1" indent="-279351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971381" marR="0" lvl="2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1485641" marR="0" lvl="3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velc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20821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mix vertical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43" y="60470"/>
            <a:ext cx="8996361" cy="267462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1440" y="465535"/>
            <a:ext cx="4044950" cy="4325540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chemeClr val="accent2"/>
                </a:solidFill>
              </a:defRPr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>
                <a:solidFill>
                  <a:schemeClr val="accent2"/>
                </a:solidFill>
              </a:defRPr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0"/>
          </p:nvPr>
        </p:nvSpPr>
        <p:spPr>
          <a:xfrm>
            <a:off x="5027676" y="750098"/>
            <a:ext cx="4041648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7676" y="465518"/>
            <a:ext cx="4041648" cy="28457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5027676" y="3198023"/>
            <a:ext cx="4041648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027676" y="2913443"/>
            <a:ext cx="4041648" cy="28457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827510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mix horizontal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647" y="60470"/>
            <a:ext cx="9001062" cy="267462"/>
          </a:xfrm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9647" y="465517"/>
            <a:ext cx="9001062" cy="1878824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chemeClr val="accent2"/>
                </a:solidFill>
              </a:defRPr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>
                <a:solidFill>
                  <a:schemeClr val="accent2"/>
                </a:solidFill>
              </a:defRPr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0"/>
          </p:nvPr>
        </p:nvSpPr>
        <p:spPr>
          <a:xfrm>
            <a:off x="5027676" y="3198023"/>
            <a:ext cx="4041648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7676" y="2913443"/>
            <a:ext cx="4041648" cy="28457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74740" y="3198023"/>
            <a:ext cx="4041648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4740" y="2913443"/>
            <a:ext cx="4041648" cy="28457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1139810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up w/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>
            <a:spLocks noGrp="1"/>
          </p:cNvSpPr>
          <p:nvPr>
            <p:ph idx="1"/>
          </p:nvPr>
        </p:nvSpPr>
        <p:spPr>
          <a:xfrm>
            <a:off x="73013" y="750098"/>
            <a:ext cx="2743200" cy="1767553"/>
          </a:xfrm>
        </p:spPr>
        <p:txBody>
          <a:bodyPr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5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73013" y="465339"/>
            <a:ext cx="2743200" cy="284759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3015" y="60470"/>
            <a:ext cx="8993216" cy="267462"/>
          </a:xfrm>
        </p:spPr>
        <p:txBody>
          <a:bodyPr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5" name="Content Placeholder 2"/>
          <p:cNvSpPr>
            <a:spLocks noGrp="1"/>
          </p:cNvSpPr>
          <p:nvPr>
            <p:ph idx="13"/>
          </p:nvPr>
        </p:nvSpPr>
        <p:spPr>
          <a:xfrm>
            <a:off x="3200400" y="750098"/>
            <a:ext cx="2743200" cy="1767553"/>
          </a:xfrm>
        </p:spPr>
        <p:txBody>
          <a:bodyPr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200400" y="465339"/>
            <a:ext cx="2743200" cy="284759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7" name="Content Placeholder 2"/>
          <p:cNvSpPr>
            <a:spLocks noGrp="1"/>
          </p:cNvSpPr>
          <p:nvPr>
            <p:ph idx="15"/>
          </p:nvPr>
        </p:nvSpPr>
        <p:spPr>
          <a:xfrm>
            <a:off x="6319110" y="750098"/>
            <a:ext cx="2743200" cy="1767553"/>
          </a:xfrm>
        </p:spPr>
        <p:txBody>
          <a:bodyPr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6319110" y="465339"/>
            <a:ext cx="2743200" cy="284759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9" name="Content Placeholder 2"/>
          <p:cNvSpPr>
            <a:spLocks noGrp="1"/>
          </p:cNvSpPr>
          <p:nvPr>
            <p:ph idx="17"/>
          </p:nvPr>
        </p:nvSpPr>
        <p:spPr>
          <a:xfrm>
            <a:off x="73013" y="3018040"/>
            <a:ext cx="2743200" cy="1767553"/>
          </a:xfrm>
        </p:spPr>
        <p:txBody>
          <a:bodyPr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73013" y="2733279"/>
            <a:ext cx="2743200" cy="284759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1" name="Content Placeholder 2"/>
          <p:cNvSpPr>
            <a:spLocks noGrp="1"/>
          </p:cNvSpPr>
          <p:nvPr>
            <p:ph idx="19"/>
          </p:nvPr>
        </p:nvSpPr>
        <p:spPr>
          <a:xfrm>
            <a:off x="3200400" y="3018040"/>
            <a:ext cx="2743200" cy="1767553"/>
          </a:xfrm>
        </p:spPr>
        <p:txBody>
          <a:bodyPr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200400" y="2733279"/>
            <a:ext cx="2743200" cy="284759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3" name="Content Placeholder 2"/>
          <p:cNvSpPr>
            <a:spLocks noGrp="1"/>
          </p:cNvSpPr>
          <p:nvPr>
            <p:ph idx="21"/>
          </p:nvPr>
        </p:nvSpPr>
        <p:spPr>
          <a:xfrm>
            <a:off x="6319110" y="3018040"/>
            <a:ext cx="2743200" cy="1767553"/>
          </a:xfrm>
        </p:spPr>
        <p:txBody>
          <a:bodyPr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6319110" y="2733279"/>
            <a:ext cx="2743200" cy="284759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2320245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vertical w/ 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4" y="60470"/>
            <a:ext cx="8997696" cy="267462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4613" y="750098"/>
            <a:ext cx="4041648" cy="4040981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74613" y="465520"/>
            <a:ext cx="4041648" cy="284579"/>
          </a:xfrm>
          <a:noFill/>
        </p:spPr>
        <p:txBody>
          <a:bodyPr wrap="none" lIns="457121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5027614" y="750098"/>
            <a:ext cx="4040186" cy="4040981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5027614" y="465520"/>
            <a:ext cx="4040186" cy="284579"/>
          </a:xfrm>
          <a:noFill/>
        </p:spPr>
        <p:txBody>
          <a:bodyPr wrap="none" lIns="457121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90051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horizontal w/ 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60470"/>
            <a:ext cx="8997696" cy="267462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3" name="Content Placeholder 2"/>
          <p:cNvSpPr>
            <a:spLocks noGrp="1"/>
          </p:cNvSpPr>
          <p:nvPr>
            <p:ph idx="10"/>
          </p:nvPr>
        </p:nvSpPr>
        <p:spPr>
          <a:xfrm>
            <a:off x="71439" y="750098"/>
            <a:ext cx="8997886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71439" y="465518"/>
            <a:ext cx="8997886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5" name="Content Placeholder 2"/>
          <p:cNvSpPr>
            <a:spLocks noGrp="1"/>
          </p:cNvSpPr>
          <p:nvPr>
            <p:ph idx="18"/>
          </p:nvPr>
        </p:nvSpPr>
        <p:spPr>
          <a:xfrm>
            <a:off x="71439" y="3198023"/>
            <a:ext cx="8997886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71439" y="2913443"/>
            <a:ext cx="8997886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371794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page mix w/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3" y="60470"/>
            <a:ext cx="8988552" cy="267462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4" name="Content Placeholder 2"/>
          <p:cNvSpPr>
            <a:spLocks noGrp="1"/>
          </p:cNvSpPr>
          <p:nvPr>
            <p:ph idx="10"/>
          </p:nvPr>
        </p:nvSpPr>
        <p:spPr>
          <a:xfrm>
            <a:off x="3352800" y="750098"/>
            <a:ext cx="5715000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352800" y="465518"/>
            <a:ext cx="57150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3352800" y="3199235"/>
            <a:ext cx="5715000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352800" y="2914655"/>
            <a:ext cx="57150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78593" y="750098"/>
            <a:ext cx="2743200" cy="4040981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8593" y="465518"/>
            <a:ext cx="27432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3838437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vertical w/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4" y="60470"/>
            <a:ext cx="8997696" cy="267462"/>
          </a:xfrm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9" name="Content Placeholder 2"/>
          <p:cNvSpPr>
            <a:spLocks noGrp="1"/>
          </p:cNvSpPr>
          <p:nvPr>
            <p:ph idx="10"/>
          </p:nvPr>
        </p:nvSpPr>
        <p:spPr>
          <a:xfrm>
            <a:off x="6324600" y="750098"/>
            <a:ext cx="2743200" cy="4040981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324600" y="465518"/>
            <a:ext cx="27432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1" name="Content Placeholder 2"/>
          <p:cNvSpPr>
            <a:spLocks noGrp="1"/>
          </p:cNvSpPr>
          <p:nvPr>
            <p:ph idx="15"/>
          </p:nvPr>
        </p:nvSpPr>
        <p:spPr>
          <a:xfrm>
            <a:off x="3200400" y="750098"/>
            <a:ext cx="2743200" cy="4040981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200400" y="465518"/>
            <a:ext cx="27432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3" name="Content Placeholder 2"/>
          <p:cNvSpPr>
            <a:spLocks noGrp="1"/>
          </p:cNvSpPr>
          <p:nvPr>
            <p:ph idx="17"/>
          </p:nvPr>
        </p:nvSpPr>
        <p:spPr>
          <a:xfrm>
            <a:off x="71438" y="750098"/>
            <a:ext cx="2743200" cy="4040981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1438" y="465518"/>
            <a:ext cx="27432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477779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horizontal w/ 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60470"/>
            <a:ext cx="8997696" cy="267462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9" name="Content Placeholder 2"/>
          <p:cNvSpPr>
            <a:spLocks noGrp="1"/>
          </p:cNvSpPr>
          <p:nvPr>
            <p:ph idx="23"/>
          </p:nvPr>
        </p:nvSpPr>
        <p:spPr>
          <a:xfrm>
            <a:off x="71500" y="750098"/>
            <a:ext cx="8997696" cy="1051987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500" y="465516"/>
            <a:ext cx="8997696" cy="288036"/>
          </a:xfrm>
          <a:noFill/>
        </p:spPr>
        <p:txBody>
          <a:bodyPr wrap="none" lIns="457121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3" name="Content Placeholder 2"/>
          <p:cNvSpPr>
            <a:spLocks noGrp="1"/>
          </p:cNvSpPr>
          <p:nvPr>
            <p:ph idx="25"/>
          </p:nvPr>
        </p:nvSpPr>
        <p:spPr>
          <a:xfrm>
            <a:off x="71500" y="3739093"/>
            <a:ext cx="8997696" cy="1051987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71500" y="3454511"/>
            <a:ext cx="8997696" cy="288036"/>
          </a:xfrm>
          <a:noFill/>
        </p:spPr>
        <p:txBody>
          <a:bodyPr wrap="none" lIns="457121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6" name="Content Placeholder 2"/>
          <p:cNvSpPr>
            <a:spLocks noGrp="1"/>
          </p:cNvSpPr>
          <p:nvPr>
            <p:ph idx="27"/>
          </p:nvPr>
        </p:nvSpPr>
        <p:spPr>
          <a:xfrm>
            <a:off x="71500" y="2244486"/>
            <a:ext cx="8997696" cy="1051987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71500" y="1959904"/>
            <a:ext cx="8997696" cy="288036"/>
          </a:xfrm>
          <a:noFill/>
        </p:spPr>
        <p:txBody>
          <a:bodyPr wrap="none" lIns="457121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4613964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rter page w/ 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14" y="60470"/>
            <a:ext cx="8997696" cy="267462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3" name="Content Placeholder 2"/>
          <p:cNvSpPr>
            <a:spLocks noGrp="1"/>
          </p:cNvSpPr>
          <p:nvPr>
            <p:ph idx="10"/>
          </p:nvPr>
        </p:nvSpPr>
        <p:spPr>
          <a:xfrm>
            <a:off x="5027617" y="750098"/>
            <a:ext cx="4040187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7617" y="465518"/>
            <a:ext cx="4040187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5" name="Content Placeholder 2"/>
          <p:cNvSpPr>
            <a:spLocks noGrp="1"/>
          </p:cNvSpPr>
          <p:nvPr>
            <p:ph idx="15"/>
          </p:nvPr>
        </p:nvSpPr>
        <p:spPr>
          <a:xfrm>
            <a:off x="5027617" y="3196832"/>
            <a:ext cx="4040187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027617" y="2912252"/>
            <a:ext cx="4040187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7" name="Content Placeholder 2"/>
          <p:cNvSpPr>
            <a:spLocks noGrp="1"/>
          </p:cNvSpPr>
          <p:nvPr>
            <p:ph idx="17"/>
          </p:nvPr>
        </p:nvSpPr>
        <p:spPr>
          <a:xfrm>
            <a:off x="71443" y="750098"/>
            <a:ext cx="4040187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1443" y="465518"/>
            <a:ext cx="4040187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9" name="Content Placeholder 2"/>
          <p:cNvSpPr>
            <a:spLocks noGrp="1"/>
          </p:cNvSpPr>
          <p:nvPr>
            <p:ph idx="19"/>
          </p:nvPr>
        </p:nvSpPr>
        <p:spPr>
          <a:xfrm>
            <a:off x="71443" y="3196832"/>
            <a:ext cx="4040187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71443" y="2912252"/>
            <a:ext cx="4040187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6401486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mix vertical w/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73" y="60470"/>
            <a:ext cx="8993533" cy="267462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4272" y="465535"/>
            <a:ext cx="4042121" cy="4325540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chemeClr val="accent2"/>
                </a:solidFill>
              </a:defRPr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>
                <a:solidFill>
                  <a:schemeClr val="accent2"/>
                </a:solidFill>
              </a:defRPr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0"/>
          </p:nvPr>
        </p:nvSpPr>
        <p:spPr>
          <a:xfrm>
            <a:off x="5027617" y="750098"/>
            <a:ext cx="4040187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7617" y="465518"/>
            <a:ext cx="4040187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5027617" y="3196832"/>
            <a:ext cx="4040187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027617" y="2912252"/>
            <a:ext cx="4040187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5402966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7426" y="142358"/>
            <a:ext cx="8789159" cy="264570"/>
          </a:xfrm>
        </p:spPr>
        <p:txBody>
          <a:bodyPr lIns="0" tIns="0" rIns="0" bIns="0"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177424" y="675566"/>
            <a:ext cx="8802807" cy="3951027"/>
          </a:xfrm>
        </p:spPr>
        <p:txBody>
          <a:bodyPr lIns="0" tIns="0" rIns="0" bIns="0"/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latin typeface="Calibri" panose="020F0502020204030204" pitchFamily="34" charset="0"/>
              </a:defRPr>
            </a:lvl1pPr>
            <a:lvl2pPr marL="453946" marR="0" indent="-279351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>
                <a:latin typeface="Calibri" panose="020F0502020204030204" pitchFamily="34" charset="0"/>
              </a:defRPr>
            </a:lvl2pPr>
            <a:lvl3pPr marL="971381" marR="0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>
                <a:latin typeface="Calibri" panose="020F0502020204030204" pitchFamily="34" charset="0"/>
              </a:defRPr>
            </a:lvl3pPr>
            <a:lvl4pPr marL="1485641" marR="0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>
                <a:latin typeface="Calibri" panose="020F0502020204030204" pitchFamily="34" charset="0"/>
              </a:defRPr>
            </a:lvl4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453946" marR="0" lvl="1" indent="-279351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971381" marR="0" lvl="2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1485641" marR="0" lvl="3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velc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51607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mix horizontal w/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60470"/>
            <a:ext cx="8997696" cy="267462"/>
          </a:xfrm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1500" y="465536"/>
            <a:ext cx="8997696" cy="1878807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chemeClr val="accent2"/>
                </a:solidFill>
              </a:defRPr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>
                <a:solidFill>
                  <a:schemeClr val="accent2"/>
                </a:solidFill>
              </a:defRPr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0"/>
          </p:nvPr>
        </p:nvSpPr>
        <p:spPr>
          <a:xfrm>
            <a:off x="5027617" y="3196832"/>
            <a:ext cx="4040187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7617" y="2912252"/>
            <a:ext cx="4040187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61801" y="3196832"/>
            <a:ext cx="4040187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61801" y="2912252"/>
            <a:ext cx="4040187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707826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up w/indented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1442" y="60470"/>
            <a:ext cx="8994790" cy="267462"/>
          </a:xfrm>
        </p:spPr>
        <p:txBody>
          <a:bodyPr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21" name="Content Placeholder 2"/>
          <p:cNvSpPr>
            <a:spLocks noGrp="1"/>
          </p:cNvSpPr>
          <p:nvPr>
            <p:ph idx="10"/>
          </p:nvPr>
        </p:nvSpPr>
        <p:spPr>
          <a:xfrm>
            <a:off x="6324600" y="750098"/>
            <a:ext cx="2743200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324600" y="465518"/>
            <a:ext cx="27432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3" name="Content Placeholder 2"/>
          <p:cNvSpPr>
            <a:spLocks noGrp="1"/>
          </p:cNvSpPr>
          <p:nvPr>
            <p:ph idx="15"/>
          </p:nvPr>
        </p:nvSpPr>
        <p:spPr>
          <a:xfrm>
            <a:off x="3200400" y="750098"/>
            <a:ext cx="2743200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200400" y="465518"/>
            <a:ext cx="27432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5" name="Content Placeholder 2"/>
          <p:cNvSpPr>
            <a:spLocks noGrp="1"/>
          </p:cNvSpPr>
          <p:nvPr>
            <p:ph idx="17"/>
          </p:nvPr>
        </p:nvSpPr>
        <p:spPr>
          <a:xfrm>
            <a:off x="15015" y="750098"/>
            <a:ext cx="2743200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15015" y="465518"/>
            <a:ext cx="27432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7" name="Content Placeholder 2"/>
          <p:cNvSpPr>
            <a:spLocks noGrp="1"/>
          </p:cNvSpPr>
          <p:nvPr>
            <p:ph idx="19"/>
          </p:nvPr>
        </p:nvSpPr>
        <p:spPr>
          <a:xfrm>
            <a:off x="6324600" y="3196832"/>
            <a:ext cx="2743200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6324600" y="2912252"/>
            <a:ext cx="27432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9" name="Content Placeholder 2"/>
          <p:cNvSpPr>
            <a:spLocks noGrp="1"/>
          </p:cNvSpPr>
          <p:nvPr>
            <p:ph idx="21"/>
          </p:nvPr>
        </p:nvSpPr>
        <p:spPr>
          <a:xfrm>
            <a:off x="3200400" y="3196832"/>
            <a:ext cx="2743200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3200400" y="2912252"/>
            <a:ext cx="27432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31" name="Content Placeholder 2"/>
          <p:cNvSpPr>
            <a:spLocks noGrp="1"/>
          </p:cNvSpPr>
          <p:nvPr>
            <p:ph idx="23"/>
          </p:nvPr>
        </p:nvSpPr>
        <p:spPr>
          <a:xfrm>
            <a:off x="15015" y="3196832"/>
            <a:ext cx="2743200" cy="1594247"/>
          </a:xfrm>
        </p:spPr>
        <p:txBody>
          <a:bodyPr l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24" hasCustomPrompt="1"/>
          </p:nvPr>
        </p:nvSpPr>
        <p:spPr>
          <a:xfrm>
            <a:off x="15015" y="2912252"/>
            <a:ext cx="27432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4811758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 lIns="91424" tIns="45713" rIns="91424" bIns="45713" rtlCol="0" anchor="ctr"/>
          <a:lstStyle/>
          <a:p>
            <a:pPr algn="ctr"/>
            <a:endParaRPr lang="en-US" sz="16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4374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ull Page w/ callou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40" y="65848"/>
            <a:ext cx="8998742" cy="259196"/>
          </a:xfrm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71500" y="742955"/>
            <a:ext cx="4041648" cy="3945731"/>
          </a:xfrm>
        </p:spPr>
        <p:txBody>
          <a:bodyPr lIns="0" tIns="0" rIns="0" bIns="0"/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2"/>
                </a:solidFill>
              </a:defRPr>
            </a:lvl1pPr>
            <a:lvl2pPr marL="453946" marR="0" indent="-279351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>
                <a:solidFill>
                  <a:schemeClr val="accent2"/>
                </a:solidFill>
              </a:defRPr>
            </a:lvl2pPr>
            <a:lvl3pPr marL="971381" marR="0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>
                <a:solidFill>
                  <a:schemeClr val="accent2"/>
                </a:solidFill>
              </a:defRPr>
            </a:lvl3pPr>
            <a:lvl4pPr marL="1485641" marR="0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>
                <a:solidFill>
                  <a:schemeClr val="accent2"/>
                </a:solidFill>
              </a:defRPr>
            </a:lvl4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0" marR="0" lvl="1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0" marR="0" lvl="2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0" marR="0" lvl="3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71500" y="454824"/>
            <a:ext cx="4041648" cy="270835"/>
          </a:xfrm>
          <a:solidFill>
            <a:schemeClr val="accent2">
              <a:lumMod val="10000"/>
              <a:lumOff val="90000"/>
            </a:schemeClr>
          </a:solidFill>
        </p:spPr>
        <p:txBody>
          <a:bodyPr wrap="square" lIns="0" tIns="27428" rIns="0" bIns="27428" anchor="t" anchorCtr="0">
            <a:spAutoFit/>
          </a:bodyPr>
          <a:lstStyle>
            <a:lvl1pPr marL="0" indent="0" algn="ctr">
              <a:spcAft>
                <a:spcPts val="0"/>
              </a:spcAft>
              <a:buNone/>
              <a:defRPr sz="1400" b="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1458937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Page (W/O 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452787" y="2582674"/>
            <a:ext cx="5971032" cy="446276"/>
          </a:xfrm>
        </p:spPr>
        <p:txBody>
          <a:bodyPr lIns="0" rIns="0" bIns="91440" anchor="b" anchorCtr="0">
            <a:spAutoFit/>
          </a:bodyPr>
          <a:lstStyle>
            <a:lvl1pPr algn="r">
              <a:defRPr sz="2000">
                <a:solidFill>
                  <a:srgbClr val="EC1B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452787" y="3157538"/>
            <a:ext cx="5971032" cy="0"/>
            <a:chOff x="452787" y="4210050"/>
            <a:chExt cx="5971032" cy="0"/>
          </a:xfrm>
        </p:grpSpPr>
        <p:cxnSp>
          <p:nvCxnSpPr>
            <p:cNvPr id="19" name="Straight Connector 18"/>
            <p:cNvCxnSpPr/>
            <p:nvPr userDrawn="1"/>
          </p:nvCxnSpPr>
          <p:spPr>
            <a:xfrm>
              <a:off x="452787" y="4210050"/>
              <a:ext cx="5971032" cy="0"/>
            </a:xfrm>
            <a:prstGeom prst="line">
              <a:avLst/>
            </a:prstGeom>
            <a:ln w="6350">
              <a:solidFill>
                <a:srgbClr val="EC1B2E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4421283" y="4210050"/>
              <a:ext cx="2002536" cy="0"/>
            </a:xfrm>
            <a:prstGeom prst="line">
              <a:avLst/>
            </a:prstGeom>
            <a:ln w="28575">
              <a:solidFill>
                <a:srgbClr val="EC1B2E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/>
          <p:cNvGrpSpPr/>
          <p:nvPr userDrawn="1"/>
        </p:nvGrpSpPr>
        <p:grpSpPr>
          <a:xfrm>
            <a:off x="453006" y="368710"/>
            <a:ext cx="1248197" cy="1197934"/>
            <a:chOff x="453006" y="489359"/>
            <a:chExt cx="1666611" cy="1599499"/>
          </a:xfrm>
        </p:grpSpPr>
        <p:sp>
          <p:nvSpPr>
            <p:cNvPr id="17" name="Rectangle 16"/>
            <p:cNvSpPr/>
            <p:nvPr userDrawn="1"/>
          </p:nvSpPr>
          <p:spPr>
            <a:xfrm>
              <a:off x="1073791" y="1043032"/>
              <a:ext cx="1045826" cy="1045826"/>
            </a:xfrm>
            <a:prstGeom prst="rect">
              <a:avLst/>
            </a:prstGeom>
            <a:solidFill>
              <a:srgbClr val="E6E6E6"/>
            </a:solidFill>
            <a:ln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A" sz="12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453006" y="489359"/>
              <a:ext cx="1045826" cy="1045826"/>
            </a:xfrm>
            <a:prstGeom prst="rect">
              <a:avLst/>
            </a:prstGeom>
            <a:solidFill>
              <a:srgbClr val="AAAAAA"/>
            </a:solidFill>
            <a:ln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A" sz="12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2066" y="4390607"/>
            <a:ext cx="1512447" cy="2701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730926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W/ 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8285" y="4328930"/>
            <a:ext cx="1768516" cy="463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863" y="4483097"/>
            <a:ext cx="2168718" cy="91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8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200" y="3371850"/>
            <a:ext cx="5916168" cy="226314"/>
          </a:xfrm>
        </p:spPr>
        <p:txBody>
          <a:bodyPr rIns="0" anchor="ctr"/>
          <a:lstStyle>
            <a:lvl1pPr algn="r">
              <a:defRPr sz="160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53580" y="2686050"/>
            <a:ext cx="5919788" cy="228600"/>
          </a:xfrm>
        </p:spPr>
        <p:txBody>
          <a:bodyPr lIns="0" rIns="0" anchor="ctr">
            <a:normAutofit/>
          </a:bodyPr>
          <a:lstStyle>
            <a:lvl1pPr marL="0" indent="0" algn="r">
              <a:buNone/>
              <a:defRPr sz="1600" cap="all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3580" y="2196199"/>
            <a:ext cx="5919788" cy="414338"/>
          </a:xfrm>
        </p:spPr>
        <p:txBody>
          <a:bodyPr lIns="0" rIns="0" anchor="ctr">
            <a:noAutofit/>
          </a:bodyPr>
          <a:lstStyle>
            <a:lvl1pPr algn="r">
              <a:defRPr sz="2800" cap="all" baseline="0">
                <a:solidFill>
                  <a:srgbClr val="EC1B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6623736" y="349952"/>
            <a:ext cx="2063064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GB" sz="1000" cap="all" dirty="0">
                <a:solidFill>
                  <a:srgbClr val="BEBEBE"/>
                </a:solidFill>
              </a:rPr>
              <a:t>For intended recipient only</a:t>
            </a:r>
            <a:endParaRPr lang="en-CA" sz="1000" cap="all" dirty="0">
              <a:solidFill>
                <a:srgbClr val="BEBEBE"/>
              </a:solidFill>
            </a:endParaRP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57200" y="3157538"/>
            <a:ext cx="5916168" cy="0"/>
          </a:xfrm>
          <a:prstGeom prst="line">
            <a:avLst/>
          </a:prstGeom>
          <a:ln w="6350">
            <a:solidFill>
              <a:srgbClr val="EC1B2E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4453128" y="3157538"/>
            <a:ext cx="1920240" cy="0"/>
          </a:xfrm>
          <a:prstGeom prst="line">
            <a:avLst/>
          </a:prstGeom>
          <a:ln w="38100">
            <a:solidFill>
              <a:srgbClr val="EC1B2E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 userDrawn="1"/>
        </p:nvGrpSpPr>
        <p:grpSpPr>
          <a:xfrm>
            <a:off x="457203" y="378526"/>
            <a:ext cx="1952962" cy="1391006"/>
            <a:chOff x="485774" y="492251"/>
            <a:chExt cx="2250948" cy="1603248"/>
          </a:xfrm>
        </p:grpSpPr>
        <p:sp>
          <p:nvSpPr>
            <p:cNvPr id="32" name="Rectangle 31"/>
            <p:cNvSpPr/>
            <p:nvPr userDrawn="1"/>
          </p:nvSpPr>
          <p:spPr>
            <a:xfrm>
              <a:off x="1066799" y="1054226"/>
              <a:ext cx="1041273" cy="1041273"/>
            </a:xfrm>
            <a:prstGeom prst="rect">
              <a:avLst/>
            </a:prstGeom>
            <a:solidFill>
              <a:srgbClr val="EC1B2E"/>
            </a:solidFill>
            <a:ln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3" name="Rectangle 32"/>
            <p:cNvSpPr/>
            <p:nvPr userDrawn="1"/>
          </p:nvSpPr>
          <p:spPr>
            <a:xfrm>
              <a:off x="1695449" y="758951"/>
              <a:ext cx="1041273" cy="1041273"/>
            </a:xfrm>
            <a:prstGeom prst="rect">
              <a:avLst/>
            </a:prstGeom>
            <a:solidFill>
              <a:srgbClr val="BEBEBE"/>
            </a:solidFill>
            <a:ln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" name="Rectangle 33"/>
            <p:cNvSpPr/>
            <p:nvPr userDrawn="1"/>
          </p:nvSpPr>
          <p:spPr>
            <a:xfrm>
              <a:off x="485774" y="492251"/>
              <a:ext cx="1041273" cy="1041273"/>
            </a:xfrm>
            <a:prstGeom prst="rect">
              <a:avLst/>
            </a:prstGeom>
            <a:solidFill>
              <a:srgbClr val="E6E6E6"/>
            </a:solidFill>
            <a:ln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58574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(W/ 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200" y="3371850"/>
            <a:ext cx="5916168" cy="226314"/>
          </a:xfrm>
        </p:spPr>
        <p:txBody>
          <a:bodyPr rIns="0" anchor="ctr"/>
          <a:lstStyle>
            <a:lvl1pPr algn="r">
              <a:defRPr sz="160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3580" y="2500312"/>
            <a:ext cx="5919788" cy="414338"/>
          </a:xfrm>
        </p:spPr>
        <p:txBody>
          <a:bodyPr lIns="0" rIns="0" anchor="ctr">
            <a:noAutofit/>
          </a:bodyPr>
          <a:lstStyle>
            <a:lvl1pPr algn="r">
              <a:defRPr sz="2800" cap="all" baseline="0">
                <a:solidFill>
                  <a:srgbClr val="EC1B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6623736" y="349952"/>
            <a:ext cx="2063064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GB" sz="1000" cap="all" dirty="0">
                <a:solidFill>
                  <a:srgbClr val="BEBEBE"/>
                </a:solidFill>
              </a:rPr>
              <a:t>For intended recipient only</a:t>
            </a:r>
            <a:endParaRPr lang="en-CA" sz="1000" cap="all" dirty="0">
              <a:solidFill>
                <a:srgbClr val="BEBEBE"/>
              </a:solidFill>
            </a:endParaRP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57200" y="3157538"/>
            <a:ext cx="5916168" cy="0"/>
          </a:xfrm>
          <a:prstGeom prst="line">
            <a:avLst/>
          </a:prstGeom>
          <a:ln w="6350">
            <a:solidFill>
              <a:srgbClr val="EC1B2E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4453128" y="3157538"/>
            <a:ext cx="1920240" cy="0"/>
          </a:xfrm>
          <a:prstGeom prst="line">
            <a:avLst/>
          </a:prstGeom>
          <a:ln w="38100">
            <a:solidFill>
              <a:srgbClr val="EC1B2E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 userDrawn="1"/>
        </p:nvGrpSpPr>
        <p:grpSpPr>
          <a:xfrm>
            <a:off x="457200" y="369188"/>
            <a:ext cx="2250948" cy="1202436"/>
            <a:chOff x="485774" y="492251"/>
            <a:chExt cx="2250948" cy="1603248"/>
          </a:xfrm>
        </p:grpSpPr>
        <p:sp>
          <p:nvSpPr>
            <p:cNvPr id="18" name="Rectangle 17"/>
            <p:cNvSpPr/>
            <p:nvPr userDrawn="1"/>
          </p:nvSpPr>
          <p:spPr>
            <a:xfrm>
              <a:off x="1066799" y="1054226"/>
              <a:ext cx="1041273" cy="1041273"/>
            </a:xfrm>
            <a:prstGeom prst="rect">
              <a:avLst/>
            </a:prstGeom>
            <a:solidFill>
              <a:srgbClr val="EC1B2E"/>
            </a:solidFill>
            <a:ln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695449" y="758951"/>
              <a:ext cx="1041273" cy="1041273"/>
            </a:xfrm>
            <a:prstGeom prst="rect">
              <a:avLst/>
            </a:prstGeom>
            <a:solidFill>
              <a:srgbClr val="BEBEBE"/>
            </a:solidFill>
            <a:ln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485774" y="492251"/>
              <a:ext cx="1041273" cy="1041273"/>
            </a:xfrm>
            <a:prstGeom prst="rect">
              <a:avLst/>
            </a:prstGeom>
            <a:solidFill>
              <a:srgbClr val="E6E6E6"/>
            </a:solidFill>
            <a:ln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6" y="4483097"/>
            <a:ext cx="2210041" cy="91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8285" y="4328930"/>
            <a:ext cx="1768516" cy="463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261914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age (W/ 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2196199"/>
            <a:ext cx="5916168" cy="414338"/>
          </a:xfrm>
        </p:spPr>
        <p:txBody>
          <a:bodyPr vert="horz" lIns="0" tIns="45713" rIns="0" bIns="45713" rtlCol="0" anchor="ctr">
            <a:noAutofit/>
          </a:bodyPr>
          <a:lstStyle>
            <a:lvl1pPr algn="r">
              <a:defRPr lang="en-US" sz="2800" cap="all" baseline="0" dirty="0">
                <a:solidFill>
                  <a:srgbClr val="EC1B2E"/>
                </a:solidFill>
              </a:defRPr>
            </a:lvl1pPr>
          </a:lstStyle>
          <a:p>
            <a:pPr lvl="0" algn="r"/>
            <a:r>
              <a:rPr lang="en-US" dirty="0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57200" y="2686050"/>
            <a:ext cx="5916168" cy="228600"/>
          </a:xfrm>
        </p:spPr>
        <p:txBody>
          <a:bodyPr vert="horz" lIns="0" tIns="0" rIns="0" bIns="0" rtlCol="0" anchor="ctr">
            <a:normAutofit/>
          </a:bodyPr>
          <a:lstStyle>
            <a:lvl1pPr algn="r">
              <a:defRPr lang="en-US" sz="1600" cap="all" baseline="0" dirty="0"/>
            </a:lvl1pPr>
          </a:lstStyle>
          <a:p>
            <a:pPr lvl="0" algn="r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7200" y="3157538"/>
            <a:ext cx="5916168" cy="0"/>
            <a:chOff x="457200" y="4210050"/>
            <a:chExt cx="5916168" cy="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457200" y="4210050"/>
              <a:ext cx="5916168" cy="0"/>
            </a:xfrm>
            <a:prstGeom prst="line">
              <a:avLst/>
            </a:prstGeom>
            <a:ln w="6350">
              <a:solidFill>
                <a:srgbClr val="EC1B2E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4453128" y="4210050"/>
              <a:ext cx="1920240" cy="0"/>
            </a:xfrm>
            <a:prstGeom prst="line">
              <a:avLst/>
            </a:prstGeom>
            <a:ln w="38100">
              <a:solidFill>
                <a:srgbClr val="EC1B2E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/>
          <p:cNvGrpSpPr/>
          <p:nvPr userDrawn="1"/>
        </p:nvGrpSpPr>
        <p:grpSpPr>
          <a:xfrm>
            <a:off x="457200" y="369188"/>
            <a:ext cx="2250948" cy="1202436"/>
            <a:chOff x="485774" y="492251"/>
            <a:chExt cx="2250948" cy="1603248"/>
          </a:xfrm>
        </p:grpSpPr>
        <p:sp>
          <p:nvSpPr>
            <p:cNvPr id="17" name="Rectangle 16"/>
            <p:cNvSpPr/>
            <p:nvPr userDrawn="1"/>
          </p:nvSpPr>
          <p:spPr>
            <a:xfrm>
              <a:off x="1066799" y="1054226"/>
              <a:ext cx="1041273" cy="1041273"/>
            </a:xfrm>
            <a:prstGeom prst="rect">
              <a:avLst/>
            </a:prstGeom>
            <a:solidFill>
              <a:srgbClr val="EC1B2E"/>
            </a:solidFill>
            <a:ln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1695449" y="758951"/>
              <a:ext cx="1041273" cy="1041273"/>
            </a:xfrm>
            <a:prstGeom prst="rect">
              <a:avLst/>
            </a:prstGeom>
            <a:solidFill>
              <a:srgbClr val="BEBEBE"/>
            </a:solidFill>
            <a:ln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485774" y="492251"/>
              <a:ext cx="1041273" cy="1041273"/>
            </a:xfrm>
            <a:prstGeom prst="rect">
              <a:avLst/>
            </a:prstGeom>
            <a:solidFill>
              <a:srgbClr val="E6E6E6"/>
            </a:solidFill>
            <a:ln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8816" y="4380175"/>
            <a:ext cx="2157984" cy="2885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185702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age (W/O sub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2500312"/>
            <a:ext cx="5916168" cy="414338"/>
          </a:xfrm>
        </p:spPr>
        <p:txBody>
          <a:bodyPr vert="horz" lIns="0" tIns="45713" rIns="0" bIns="45713" rtlCol="0" anchor="ctr">
            <a:noAutofit/>
          </a:bodyPr>
          <a:lstStyle>
            <a:lvl1pPr algn="r">
              <a:defRPr lang="en-US" sz="2800" cap="all" baseline="0" dirty="0">
                <a:solidFill>
                  <a:srgbClr val="EC1B2E"/>
                </a:solidFill>
              </a:defRPr>
            </a:lvl1pPr>
          </a:lstStyle>
          <a:p>
            <a:pPr lvl="0" algn="r"/>
            <a:r>
              <a:rPr lang="en-US" dirty="0"/>
              <a:t>Click to edit Master title styl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457200" y="3157538"/>
            <a:ext cx="5916168" cy="0"/>
            <a:chOff x="457200" y="4210050"/>
            <a:chExt cx="5916168" cy="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457200" y="4210050"/>
              <a:ext cx="5916168" cy="0"/>
            </a:xfrm>
            <a:prstGeom prst="line">
              <a:avLst/>
            </a:prstGeom>
            <a:ln w="6350">
              <a:solidFill>
                <a:srgbClr val="EC1B2E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4453128" y="4210050"/>
              <a:ext cx="1920240" cy="0"/>
            </a:xfrm>
            <a:prstGeom prst="line">
              <a:avLst/>
            </a:prstGeom>
            <a:ln w="38100">
              <a:solidFill>
                <a:srgbClr val="EC1B2E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/>
          <p:cNvGrpSpPr/>
          <p:nvPr userDrawn="1"/>
        </p:nvGrpSpPr>
        <p:grpSpPr>
          <a:xfrm>
            <a:off x="457200" y="369188"/>
            <a:ext cx="2250948" cy="1202436"/>
            <a:chOff x="485774" y="492251"/>
            <a:chExt cx="2250948" cy="1603248"/>
          </a:xfrm>
        </p:grpSpPr>
        <p:sp>
          <p:nvSpPr>
            <p:cNvPr id="17" name="Rectangle 16"/>
            <p:cNvSpPr/>
            <p:nvPr userDrawn="1"/>
          </p:nvSpPr>
          <p:spPr>
            <a:xfrm>
              <a:off x="1066799" y="1054226"/>
              <a:ext cx="1041273" cy="1041273"/>
            </a:xfrm>
            <a:prstGeom prst="rect">
              <a:avLst/>
            </a:prstGeom>
            <a:solidFill>
              <a:srgbClr val="EC1B2E"/>
            </a:solidFill>
            <a:ln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1695449" y="758951"/>
              <a:ext cx="1041273" cy="1041273"/>
            </a:xfrm>
            <a:prstGeom prst="rect">
              <a:avLst/>
            </a:prstGeom>
            <a:solidFill>
              <a:srgbClr val="BEBEBE"/>
            </a:solidFill>
            <a:ln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485774" y="492251"/>
              <a:ext cx="1041273" cy="1041273"/>
            </a:xfrm>
            <a:prstGeom prst="rect">
              <a:avLst/>
            </a:prstGeom>
            <a:solidFill>
              <a:srgbClr val="E6E6E6"/>
            </a:solidFill>
            <a:ln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 err="1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8285" y="4328930"/>
            <a:ext cx="1768516" cy="463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633989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up w/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76200" y="2914654"/>
            <a:ext cx="8988552" cy="280067"/>
          </a:xfrm>
          <a:solidFill>
            <a:srgbClr val="F2F2F2"/>
          </a:solidFill>
        </p:spPr>
        <p:txBody>
          <a:bodyPr wrap="square" lIns="0" tIns="36570" rIns="0" bIns="27428" anchor="t" anchorCtr="0">
            <a:spAutoFit/>
          </a:bodyPr>
          <a:lstStyle>
            <a:lvl1pPr marL="0" indent="0" algn="ctr">
              <a:spcAft>
                <a:spcPts val="0"/>
              </a:spcAft>
              <a:buNone/>
              <a:defRPr sz="1400" b="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454823"/>
            <a:ext cx="8988552" cy="280067"/>
          </a:xfrm>
          <a:solidFill>
            <a:srgbClr val="F2F2F2"/>
          </a:solidFill>
        </p:spPr>
        <p:txBody>
          <a:bodyPr wrap="square" lIns="0" tIns="36570" rIns="0" bIns="27428" anchor="t" anchorCtr="0">
            <a:spAutoFit/>
          </a:bodyPr>
          <a:lstStyle>
            <a:lvl1pPr marL="0" indent="0" algn="ctr">
              <a:spcAft>
                <a:spcPts val="0"/>
              </a:spcAft>
              <a:buNone/>
              <a:defRPr sz="1400" b="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76200" y="742950"/>
            <a:ext cx="8988552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76200" y="3200400"/>
            <a:ext cx="8988552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295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Page w/ callou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40" y="65848"/>
            <a:ext cx="8998742" cy="259196"/>
          </a:xfrm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71500" y="742955"/>
            <a:ext cx="8997696" cy="3945731"/>
          </a:xfrm>
        </p:spPr>
        <p:txBody>
          <a:bodyPr lIns="0" tIns="0" rIns="0" bIns="0"/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2"/>
                </a:solidFill>
              </a:defRPr>
            </a:lvl1pPr>
            <a:lvl2pPr marL="453946" marR="0" indent="-279351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>
                <a:solidFill>
                  <a:schemeClr val="accent2"/>
                </a:solidFill>
              </a:defRPr>
            </a:lvl2pPr>
            <a:lvl3pPr marL="971381" marR="0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>
                <a:solidFill>
                  <a:schemeClr val="accent2"/>
                </a:solidFill>
              </a:defRPr>
            </a:lvl3pPr>
            <a:lvl4pPr marL="1485641" marR="0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>
                <a:solidFill>
                  <a:schemeClr val="accent2"/>
                </a:solidFill>
              </a:defRPr>
            </a:lvl4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0" marR="0" lvl="1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0" marR="0" lvl="2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0" marR="0" lvl="3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71500" y="454824"/>
            <a:ext cx="8997696" cy="270835"/>
          </a:xfrm>
          <a:solidFill>
            <a:schemeClr val="accent2">
              <a:lumMod val="10000"/>
              <a:lumOff val="90000"/>
            </a:schemeClr>
          </a:solidFill>
        </p:spPr>
        <p:txBody>
          <a:bodyPr wrap="square" lIns="0" tIns="27428" rIns="0" bIns="27428" anchor="t" anchorCtr="0">
            <a:spAutoFit/>
          </a:bodyPr>
          <a:lstStyle>
            <a:lvl1pPr marL="0" indent="0" algn="ctr">
              <a:spcAft>
                <a:spcPts val="0"/>
              </a:spcAft>
              <a:buNone/>
              <a:defRPr sz="1400" b="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3916657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up pag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6200" y="457200"/>
            <a:ext cx="4041648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5029200" y="457200"/>
            <a:ext cx="4041648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1941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up pag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6200" y="457200"/>
            <a:ext cx="8991600" cy="1885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76200" y="2914650"/>
            <a:ext cx="8991600" cy="1885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4637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page m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3013" y="457200"/>
            <a:ext cx="2743200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3346565" y="457200"/>
            <a:ext cx="5715000" cy="1885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2"/>
          </p:nvPr>
        </p:nvSpPr>
        <p:spPr>
          <a:xfrm>
            <a:off x="3346565" y="2914650"/>
            <a:ext cx="5715000" cy="1885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51022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page mix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76200" y="457200"/>
            <a:ext cx="5715000" cy="1885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76200" y="2914650"/>
            <a:ext cx="5715000" cy="1885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6324600" y="457200"/>
            <a:ext cx="2743200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06234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6200" y="457200"/>
            <a:ext cx="2743200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3200400" y="457200"/>
            <a:ext cx="2743200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2"/>
          </p:nvPr>
        </p:nvSpPr>
        <p:spPr>
          <a:xfrm>
            <a:off x="6324600" y="457200"/>
            <a:ext cx="2743200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32279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3013" y="457200"/>
            <a:ext cx="8991600" cy="13510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73013" y="1954381"/>
            <a:ext cx="8991600" cy="13510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73013" y="3451562"/>
            <a:ext cx="8991600" cy="13510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68718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r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73013" y="457200"/>
            <a:ext cx="4041648" cy="1885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5029061" y="457200"/>
            <a:ext cx="4041648" cy="1885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73013" y="2914650"/>
            <a:ext cx="4041648" cy="1885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5029061" y="2914650"/>
            <a:ext cx="4041648" cy="1885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780976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page w/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6200" y="457222"/>
            <a:ext cx="8991600" cy="284558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76200" y="742950"/>
            <a:ext cx="8991600" cy="4057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62722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6152" y="457205"/>
            <a:ext cx="4041648" cy="28457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6200" y="457222"/>
            <a:ext cx="4041648" cy="284558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76200" y="742950"/>
            <a:ext cx="4041648" cy="4057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0"/>
          </p:nvPr>
        </p:nvSpPr>
        <p:spPr>
          <a:xfrm>
            <a:off x="5026152" y="742950"/>
            <a:ext cx="4041648" cy="4057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37529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w/headings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76200" y="457200"/>
            <a:ext cx="8991600" cy="288036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76200" y="2912251"/>
            <a:ext cx="8991600" cy="285770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3"/>
          </p:nvPr>
        </p:nvSpPr>
        <p:spPr>
          <a:xfrm>
            <a:off x="76200" y="742950"/>
            <a:ext cx="8991600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4"/>
          </p:nvPr>
        </p:nvSpPr>
        <p:spPr>
          <a:xfrm>
            <a:off x="76200" y="3200400"/>
            <a:ext cx="8991600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98174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/ callou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43" y="65485"/>
            <a:ext cx="8996361" cy="25955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71500" y="457204"/>
            <a:ext cx="8996300" cy="3929171"/>
          </a:xfrm>
        </p:spPr>
        <p:txBody>
          <a:bodyPr lIns="0" tIns="0" rIns="0" bIns="0"/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 marL="453946" marR="0" indent="-279351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/>
            </a:lvl2pPr>
            <a:lvl3pPr marL="971381" marR="0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lvl3pPr>
            <a:lvl4pPr marL="1485641" marR="0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lvl4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0" marR="0" lvl="1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0" marR="0" lvl="2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0" marR="0" lvl="3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1500" y="4504766"/>
            <a:ext cx="8997696" cy="270835"/>
          </a:xfrm>
          <a:solidFill>
            <a:schemeClr val="accent2">
              <a:lumMod val="10000"/>
              <a:lumOff val="90000"/>
            </a:schemeClr>
          </a:solidFill>
        </p:spPr>
        <p:txBody>
          <a:bodyPr wrap="square" lIns="0" tIns="27428" rIns="0" bIns="27428" anchor="b" anchorCtr="0">
            <a:spAutoFit/>
          </a:bodyPr>
          <a:lstStyle>
            <a:lvl1pPr marL="0" indent="0" algn="ctr">
              <a:spcAft>
                <a:spcPts val="0"/>
              </a:spcAft>
              <a:buNone/>
              <a:defRPr sz="1400" b="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96781011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page mix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76200" y="457200"/>
            <a:ext cx="2743200" cy="284560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3352800" y="457201"/>
            <a:ext cx="5715000" cy="284558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352800" y="2913460"/>
            <a:ext cx="5715000" cy="284558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76200" y="742950"/>
            <a:ext cx="2743200" cy="4057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2"/>
          </p:nvPr>
        </p:nvSpPr>
        <p:spPr>
          <a:xfrm>
            <a:off x="3352800" y="742950"/>
            <a:ext cx="5715000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3"/>
          </p:nvPr>
        </p:nvSpPr>
        <p:spPr>
          <a:xfrm>
            <a:off x="3352800" y="3200400"/>
            <a:ext cx="5715000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7205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vertical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76200" y="457200"/>
            <a:ext cx="2743200" cy="284560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6324600" y="457200"/>
            <a:ext cx="2743200" cy="284560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3200400" y="457200"/>
            <a:ext cx="2743200" cy="284560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3"/>
          </p:nvPr>
        </p:nvSpPr>
        <p:spPr>
          <a:xfrm>
            <a:off x="76200" y="742950"/>
            <a:ext cx="2743200" cy="4057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4"/>
          </p:nvPr>
        </p:nvSpPr>
        <p:spPr>
          <a:xfrm>
            <a:off x="3200400" y="742950"/>
            <a:ext cx="2743200" cy="4057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25"/>
          </p:nvPr>
        </p:nvSpPr>
        <p:spPr>
          <a:xfrm>
            <a:off x="6324600" y="742950"/>
            <a:ext cx="2743200" cy="4057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701411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horizonal w/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" y="457200"/>
            <a:ext cx="8991600" cy="284578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76200" y="3459138"/>
            <a:ext cx="8991600" cy="284578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76200" y="1962468"/>
            <a:ext cx="8991600" cy="284578"/>
          </a:xfrm>
          <a:noFill/>
        </p:spPr>
        <p:txBody>
          <a:bodyPr wrap="none" lIns="0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76200" y="741778"/>
            <a:ext cx="8991600" cy="10561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76200" y="2247045"/>
            <a:ext cx="8991600" cy="10561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0"/>
          </p:nvPr>
        </p:nvSpPr>
        <p:spPr>
          <a:xfrm>
            <a:off x="76200" y="3743714"/>
            <a:ext cx="8991600" cy="10561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620126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rter pagel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6152" y="457205"/>
            <a:ext cx="4041648" cy="28457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6200" y="457222"/>
            <a:ext cx="4041648" cy="284558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3"/>
          </p:nvPr>
        </p:nvSpPr>
        <p:spPr>
          <a:xfrm>
            <a:off x="76200" y="741780"/>
            <a:ext cx="4041648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4"/>
          </p:nvPr>
        </p:nvSpPr>
        <p:spPr>
          <a:xfrm>
            <a:off x="5026152" y="741780"/>
            <a:ext cx="4041648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25"/>
          </p:nvPr>
        </p:nvSpPr>
        <p:spPr>
          <a:xfrm>
            <a:off x="76200" y="3198019"/>
            <a:ext cx="4041648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6"/>
          </p:nvPr>
        </p:nvSpPr>
        <p:spPr>
          <a:xfrm>
            <a:off x="5026152" y="3198019"/>
            <a:ext cx="4041648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5026152" y="2913444"/>
            <a:ext cx="4041648" cy="28457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6200" y="2913444"/>
            <a:ext cx="4041648" cy="28457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410264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mix vertical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6152" y="457205"/>
            <a:ext cx="4041648" cy="28457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026152" y="2913444"/>
            <a:ext cx="4041648" cy="28457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76200" y="457205"/>
            <a:ext cx="4041648" cy="4343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>
          <a:xfrm>
            <a:off x="5026152" y="741780"/>
            <a:ext cx="4041648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5026152" y="3198019"/>
            <a:ext cx="4041648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08156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mix horizontal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6152" y="2913444"/>
            <a:ext cx="4041648" cy="28457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6200" y="2913444"/>
            <a:ext cx="4041648" cy="28457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76200" y="457200"/>
            <a:ext cx="8991600" cy="1885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>
          <a:xfrm>
            <a:off x="76200" y="3198019"/>
            <a:ext cx="4041648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5026152" y="3198019"/>
            <a:ext cx="4041648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006170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up mix horizontal w/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6152" y="457205"/>
            <a:ext cx="4041648" cy="28457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6200" y="457205"/>
            <a:ext cx="4041648" cy="284579"/>
          </a:xfrm>
          <a:noFill/>
        </p:spPr>
        <p:txBody>
          <a:bodyPr wrap="none" l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76200" y="742950"/>
            <a:ext cx="4041648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>
          <a:xfrm>
            <a:off x="5026152" y="742950"/>
            <a:ext cx="4041648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76200" y="2914650"/>
            <a:ext cx="8991600" cy="1885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4159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up w/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76200" y="457204"/>
            <a:ext cx="2743200" cy="284759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200400" y="457204"/>
            <a:ext cx="2743200" cy="284759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6324600" y="457204"/>
            <a:ext cx="2743200" cy="284759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76200" y="2744193"/>
            <a:ext cx="2743200" cy="284759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200400" y="2744193"/>
            <a:ext cx="2743200" cy="284759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6324600" y="2744193"/>
            <a:ext cx="2743200" cy="284759"/>
          </a:xfrm>
          <a:noFill/>
        </p:spPr>
        <p:txBody>
          <a:bodyPr wrap="none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3"/>
          </p:nvPr>
        </p:nvSpPr>
        <p:spPr>
          <a:xfrm>
            <a:off x="76200" y="741959"/>
            <a:ext cx="2743200" cy="1769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4"/>
          </p:nvPr>
        </p:nvSpPr>
        <p:spPr>
          <a:xfrm>
            <a:off x="6324600" y="741959"/>
            <a:ext cx="2743200" cy="1769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5"/>
          </p:nvPr>
        </p:nvSpPr>
        <p:spPr>
          <a:xfrm>
            <a:off x="6324600" y="3028950"/>
            <a:ext cx="2743200" cy="1769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6"/>
          </p:nvPr>
        </p:nvSpPr>
        <p:spPr>
          <a:xfrm>
            <a:off x="76200" y="3028950"/>
            <a:ext cx="2743200" cy="1769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27"/>
          </p:nvPr>
        </p:nvSpPr>
        <p:spPr>
          <a:xfrm>
            <a:off x="3200400" y="741959"/>
            <a:ext cx="2743200" cy="1769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8"/>
          </p:nvPr>
        </p:nvSpPr>
        <p:spPr>
          <a:xfrm>
            <a:off x="3200400" y="3028950"/>
            <a:ext cx="2743200" cy="1769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522880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page w/heading (inden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76206" y="457204"/>
            <a:ext cx="8991599" cy="284579"/>
          </a:xfrm>
          <a:noFill/>
        </p:spPr>
        <p:txBody>
          <a:bodyPr wrap="none" lIns="457121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6206" y="742950"/>
            <a:ext cx="8991599" cy="4057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135291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vertical w/ 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76200" y="457204"/>
            <a:ext cx="4041648" cy="284579"/>
          </a:xfrm>
          <a:noFill/>
        </p:spPr>
        <p:txBody>
          <a:bodyPr wrap="none" lIns="457121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5026152" y="457204"/>
            <a:ext cx="4041648" cy="284579"/>
          </a:xfrm>
          <a:noFill/>
        </p:spPr>
        <p:txBody>
          <a:bodyPr wrap="none" lIns="457121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76200" y="742950"/>
            <a:ext cx="4041648" cy="4057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/>
          </p:nvPr>
        </p:nvSpPr>
        <p:spPr>
          <a:xfrm>
            <a:off x="5026152" y="742950"/>
            <a:ext cx="4041648" cy="4057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8015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Page w/ callou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43" y="65485"/>
            <a:ext cx="8996361" cy="259556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1500" y="4504766"/>
            <a:ext cx="8997696" cy="270835"/>
          </a:xfrm>
          <a:solidFill>
            <a:schemeClr val="accent2">
              <a:lumMod val="10000"/>
              <a:lumOff val="90000"/>
            </a:schemeClr>
          </a:solidFill>
        </p:spPr>
        <p:txBody>
          <a:bodyPr wrap="square" lIns="0" tIns="27428" rIns="0" bIns="27428" anchor="b" anchorCtr="0">
            <a:spAutoFit/>
          </a:bodyPr>
          <a:lstStyle>
            <a:lvl1pPr marL="0" indent="0" algn="ctr">
              <a:spcAft>
                <a:spcPts val="0"/>
              </a:spcAft>
              <a:buNone/>
              <a:defRPr sz="1400" b="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74613" y="750094"/>
            <a:ext cx="4041648" cy="3650456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74613" y="465520"/>
            <a:ext cx="4041648" cy="284579"/>
          </a:xfrm>
          <a:noFill/>
        </p:spPr>
        <p:txBody>
          <a:bodyPr wrap="none" lIns="457121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5027614" y="750094"/>
            <a:ext cx="4040186" cy="3650456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5027614" y="465520"/>
            <a:ext cx="4040186" cy="284579"/>
          </a:xfrm>
          <a:noFill/>
        </p:spPr>
        <p:txBody>
          <a:bodyPr wrap="none" lIns="457121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3816196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horizontal w/ 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76200" y="457205"/>
            <a:ext cx="89916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76200" y="2913443"/>
            <a:ext cx="89916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0"/>
          </p:nvPr>
        </p:nvSpPr>
        <p:spPr>
          <a:xfrm>
            <a:off x="76200" y="742950"/>
            <a:ext cx="8991600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xfrm>
            <a:off x="76200" y="3200400"/>
            <a:ext cx="8991600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1293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page mix w/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346565" y="457205"/>
            <a:ext cx="57150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346565" y="2913444"/>
            <a:ext cx="57150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6201" y="457205"/>
            <a:ext cx="27432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76201" y="742950"/>
            <a:ext cx="2743200" cy="4057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0"/>
          </p:nvPr>
        </p:nvSpPr>
        <p:spPr>
          <a:xfrm>
            <a:off x="3346565" y="742950"/>
            <a:ext cx="5715000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21"/>
          </p:nvPr>
        </p:nvSpPr>
        <p:spPr>
          <a:xfrm>
            <a:off x="3346565" y="3198019"/>
            <a:ext cx="5715000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21262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vertical w/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324600" y="457205"/>
            <a:ext cx="27432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200400" y="457205"/>
            <a:ext cx="27432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6200" y="457205"/>
            <a:ext cx="27432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76200" y="742950"/>
            <a:ext cx="2743200" cy="4057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0"/>
          </p:nvPr>
        </p:nvSpPr>
        <p:spPr>
          <a:xfrm>
            <a:off x="3200400" y="742950"/>
            <a:ext cx="2743200" cy="4057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21"/>
          </p:nvPr>
        </p:nvSpPr>
        <p:spPr>
          <a:xfrm>
            <a:off x="6324600" y="742950"/>
            <a:ext cx="2743200" cy="4057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195434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horizontal w/ 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6200" y="457200"/>
            <a:ext cx="8991600" cy="288036"/>
          </a:xfrm>
          <a:noFill/>
        </p:spPr>
        <p:txBody>
          <a:bodyPr wrap="none" lIns="457121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76200" y="3454511"/>
            <a:ext cx="8991600" cy="288036"/>
          </a:xfrm>
          <a:noFill/>
        </p:spPr>
        <p:txBody>
          <a:bodyPr wrap="none" lIns="457121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76200" y="1959904"/>
            <a:ext cx="8991600" cy="288036"/>
          </a:xfrm>
          <a:noFill/>
        </p:spPr>
        <p:txBody>
          <a:bodyPr wrap="none" lIns="457121" tIns="0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9"/>
          </p:nvPr>
        </p:nvSpPr>
        <p:spPr>
          <a:xfrm>
            <a:off x="76200" y="745236"/>
            <a:ext cx="8991600" cy="10492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0"/>
          </p:nvPr>
        </p:nvSpPr>
        <p:spPr>
          <a:xfrm>
            <a:off x="76200" y="2247940"/>
            <a:ext cx="8991600" cy="10492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31"/>
          </p:nvPr>
        </p:nvSpPr>
        <p:spPr>
          <a:xfrm>
            <a:off x="76200" y="3742547"/>
            <a:ext cx="8991600" cy="10492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95612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rter page w/ 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6152" y="457205"/>
            <a:ext cx="4041648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026152" y="2913444"/>
            <a:ext cx="4041648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6200" y="457205"/>
            <a:ext cx="4041648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76200" y="2913444"/>
            <a:ext cx="4041648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1"/>
          </p:nvPr>
        </p:nvSpPr>
        <p:spPr>
          <a:xfrm>
            <a:off x="76200" y="742950"/>
            <a:ext cx="4041648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2"/>
          </p:nvPr>
        </p:nvSpPr>
        <p:spPr>
          <a:xfrm>
            <a:off x="5026152" y="742950"/>
            <a:ext cx="4041648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23"/>
          </p:nvPr>
        </p:nvSpPr>
        <p:spPr>
          <a:xfrm>
            <a:off x="76200" y="3198019"/>
            <a:ext cx="4041648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4"/>
          </p:nvPr>
        </p:nvSpPr>
        <p:spPr>
          <a:xfrm>
            <a:off x="5026152" y="3198019"/>
            <a:ext cx="4041648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654016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mix vertical w/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6152" y="457205"/>
            <a:ext cx="4041648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026152" y="2913444"/>
            <a:ext cx="4041648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5026152" y="741780"/>
            <a:ext cx="4041648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>
          <a:xfrm>
            <a:off x="5026152" y="3198019"/>
            <a:ext cx="4041648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76200" y="457200"/>
            <a:ext cx="4041648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71308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mix horizontal w/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6152" y="2913444"/>
            <a:ext cx="4041648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76200" y="2913444"/>
            <a:ext cx="4041648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76200" y="457200"/>
            <a:ext cx="8991600" cy="1885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>
          <a:xfrm>
            <a:off x="76200" y="3198019"/>
            <a:ext cx="4041648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5026152" y="3198019"/>
            <a:ext cx="4041648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95097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up mix horizontal w/indente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27548" y="457205"/>
            <a:ext cx="4041648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71500" y="741780"/>
            <a:ext cx="4041648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>
          <a:xfrm>
            <a:off x="5027548" y="741780"/>
            <a:ext cx="4041648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76200" y="2914650"/>
            <a:ext cx="8991600" cy="1885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76200" y="457205"/>
            <a:ext cx="4041648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38242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up w/indented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324600" y="457205"/>
            <a:ext cx="27432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200400" y="457205"/>
            <a:ext cx="27432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6200" y="457205"/>
            <a:ext cx="27432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6324600" y="2912252"/>
            <a:ext cx="27432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3200400" y="2912252"/>
            <a:ext cx="27432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24" hasCustomPrompt="1"/>
          </p:nvPr>
        </p:nvSpPr>
        <p:spPr>
          <a:xfrm>
            <a:off x="76200" y="2912252"/>
            <a:ext cx="2743200" cy="284579"/>
          </a:xfrm>
          <a:noFill/>
        </p:spPr>
        <p:txBody>
          <a:bodyPr wrap="none" lIns="457121" rIns="0" bIns="0" anchor="ctr" anchorCtr="0"/>
          <a:lstStyle>
            <a:lvl1pPr marL="0" indent="0" algn="l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25"/>
          </p:nvPr>
        </p:nvSpPr>
        <p:spPr>
          <a:xfrm>
            <a:off x="76200" y="742950"/>
            <a:ext cx="2743200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6"/>
          </p:nvPr>
        </p:nvSpPr>
        <p:spPr>
          <a:xfrm>
            <a:off x="76200" y="3200400"/>
            <a:ext cx="2743200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7"/>
          </p:nvPr>
        </p:nvSpPr>
        <p:spPr>
          <a:xfrm>
            <a:off x="3200400" y="742950"/>
            <a:ext cx="2743200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8"/>
          </p:nvPr>
        </p:nvSpPr>
        <p:spPr>
          <a:xfrm>
            <a:off x="3200400" y="3200400"/>
            <a:ext cx="2743200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9"/>
          </p:nvPr>
        </p:nvSpPr>
        <p:spPr>
          <a:xfrm>
            <a:off x="6324600" y="742950"/>
            <a:ext cx="2743200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30"/>
          </p:nvPr>
        </p:nvSpPr>
        <p:spPr>
          <a:xfrm>
            <a:off x="6324600" y="3200400"/>
            <a:ext cx="2743200" cy="160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76200" y="65483"/>
            <a:ext cx="8991600" cy="26060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996583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 lIns="91424" tIns="45713" rIns="91424" bIns="45713" rtlCol="0" anchor="ctr"/>
          <a:lstStyle/>
          <a:p>
            <a:pPr algn="ctr"/>
            <a:endParaRPr lang="en-US" sz="16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67264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r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40" y="65485"/>
            <a:ext cx="8997758" cy="259556"/>
          </a:xfrm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1500" y="742955"/>
            <a:ext cx="8997696" cy="1600199"/>
          </a:xfrm>
        </p:spPr>
        <p:txBody>
          <a:bodyPr lIns="0" tIns="0" rIns="0" bIns="0"/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b="0"/>
            </a:lvl1pPr>
            <a:lvl2pPr marL="453946" marR="0" indent="-279351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b="0"/>
            </a:lvl2pPr>
            <a:lvl3pPr marL="971381" marR="0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 b="0"/>
            </a:lvl3pPr>
            <a:lvl4pPr marL="1485641" marR="0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 b="0"/>
            </a:lvl4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0" marR="0" lvl="1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0" marR="0" lvl="2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0" marR="0" lvl="3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1"/>
          </p:nvPr>
        </p:nvSpPr>
        <p:spPr>
          <a:xfrm>
            <a:off x="71500" y="3175945"/>
            <a:ext cx="8997696" cy="1600074"/>
          </a:xfrm>
        </p:spPr>
        <p:txBody>
          <a:bodyPr lIns="0" tIns="0" rIns="0" bIns="0"/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 marL="453946" marR="0" indent="-279351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/>
            </a:lvl2pPr>
            <a:lvl3pPr marL="971381" marR="0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lvl3pPr>
            <a:lvl4pPr marL="1485641" marR="0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lvl4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0" marR="0" lvl="1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0" marR="0" lvl="2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0" marR="0" lvl="3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71500" y="2845577"/>
            <a:ext cx="8997696" cy="270835"/>
          </a:xfrm>
          <a:solidFill>
            <a:schemeClr val="accent2">
              <a:lumMod val="10000"/>
              <a:lumOff val="90000"/>
            </a:schemeClr>
          </a:solidFill>
        </p:spPr>
        <p:txBody>
          <a:bodyPr wrap="square" lIns="0" tIns="27428" rIns="0" bIns="27428" anchor="b" anchorCtr="0">
            <a:spAutoFit/>
          </a:bodyPr>
          <a:lstStyle>
            <a:lvl1pPr marL="0" indent="0" algn="ctr">
              <a:spcAft>
                <a:spcPts val="0"/>
              </a:spcAft>
              <a:buNone/>
              <a:defRPr sz="1400" b="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1500" y="454824"/>
            <a:ext cx="8997696" cy="270835"/>
          </a:xfrm>
          <a:solidFill>
            <a:schemeClr val="accent2">
              <a:lumMod val="10000"/>
              <a:lumOff val="90000"/>
            </a:schemeClr>
          </a:solidFill>
        </p:spPr>
        <p:txBody>
          <a:bodyPr wrap="square" lIns="0" tIns="27428" rIns="0" bIns="27428" anchor="t" anchorCtr="0">
            <a:spAutoFit/>
          </a:bodyPr>
          <a:lstStyle>
            <a:lvl1pPr marL="0" indent="0" algn="ctr">
              <a:spcAft>
                <a:spcPts val="0"/>
              </a:spcAft>
              <a:buNone/>
              <a:defRPr sz="1400" b="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Callout here…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1817485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753422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9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7"/>
            <a:ext cx="397764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7"/>
            <a:ext cx="397764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42901" y="4980526"/>
            <a:ext cx="406718" cy="88106"/>
          </a:xfrm>
          <a:prstGeom prst="rect">
            <a:avLst/>
          </a:prstGeom>
        </p:spPr>
        <p:txBody>
          <a:bodyPr lIns="0" tIns="0" rIns="0" bIns="0"/>
          <a:lstStyle>
            <a:lvl1pPr>
              <a:defRPr sz="5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9525">
              <a:spcBef>
                <a:spcPts val="26"/>
              </a:spcBef>
            </a:pPr>
            <a:r>
              <a:rPr lang="en-US" spc="-4"/>
              <a:t>© </a:t>
            </a:r>
            <a:r>
              <a:rPr lang="en-US"/>
              <a:t>Deloitte</a:t>
            </a:r>
            <a:r>
              <a:rPr lang="en-US" spc="-68"/>
              <a:t> </a:t>
            </a:r>
            <a:r>
              <a:rPr lang="en-US" spc="-4"/>
              <a:t>Inc.</a:t>
            </a:r>
            <a:endParaRPr lang="en-US" spc="-4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4783457"/>
            <a:ext cx="2103120" cy="2571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1/2018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8701459" y="4852945"/>
            <a:ext cx="107156" cy="88106"/>
          </a:xfrm>
          <a:prstGeom prst="rect">
            <a:avLst/>
          </a:prstGeom>
        </p:spPr>
        <p:txBody>
          <a:bodyPr lIns="0" tIns="0" rIns="0" bIns="0"/>
          <a:lstStyle>
            <a:lvl1pPr>
              <a:defRPr sz="5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53338">
              <a:spcBef>
                <a:spcPts val="30"/>
              </a:spcBef>
            </a:pPr>
            <a:fld id="{81D60167-4931-47E6-BA6A-407CBD079E47}" type="slidenum">
              <a:rPr lang="en-US" spc="-4" smtClean="0"/>
              <a:pPr marL="53338">
                <a:spcBef>
                  <a:spcPts val="30"/>
                </a:spcBef>
              </a:pPr>
              <a:t>‹#›</a:t>
            </a:fld>
            <a:endParaRPr lang="en-US" spc="-4" dirty="0"/>
          </a:p>
        </p:txBody>
      </p:sp>
    </p:spTree>
    <p:extLst>
      <p:ext uri="{BB962C8B-B14F-4D97-AF65-F5344CB8AC3E}">
        <p14:creationId xmlns:p14="http://schemas.microsoft.com/office/powerpoint/2010/main" val="165926317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62B5E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9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42901" y="4980526"/>
            <a:ext cx="406718" cy="88106"/>
          </a:xfrm>
          <a:prstGeom prst="rect">
            <a:avLst/>
          </a:prstGeom>
        </p:spPr>
        <p:txBody>
          <a:bodyPr lIns="0" tIns="0" rIns="0" bIns="0"/>
          <a:lstStyle>
            <a:lvl1pPr>
              <a:defRPr sz="5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9525">
              <a:spcBef>
                <a:spcPts val="26"/>
              </a:spcBef>
            </a:pPr>
            <a:r>
              <a:rPr lang="en-US" spc="-4"/>
              <a:t>© </a:t>
            </a:r>
            <a:r>
              <a:rPr lang="en-US"/>
              <a:t>Deloitte</a:t>
            </a:r>
            <a:r>
              <a:rPr lang="en-US" spc="-68"/>
              <a:t> </a:t>
            </a:r>
            <a:r>
              <a:rPr lang="en-US" spc="-4"/>
              <a:t>Inc.</a:t>
            </a:r>
            <a:endParaRPr lang="en-US" spc="-4"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4783457"/>
            <a:ext cx="2103120" cy="2571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1/2018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8701459" y="4852945"/>
            <a:ext cx="107156" cy="88106"/>
          </a:xfrm>
          <a:prstGeom prst="rect">
            <a:avLst/>
          </a:prstGeom>
        </p:spPr>
        <p:txBody>
          <a:bodyPr lIns="0" tIns="0" rIns="0" bIns="0"/>
          <a:lstStyle>
            <a:lvl1pPr>
              <a:defRPr sz="5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53338">
              <a:spcBef>
                <a:spcPts val="30"/>
              </a:spcBef>
            </a:pPr>
            <a:fld id="{81D60167-4931-47E6-BA6A-407CBD079E47}" type="slidenum">
              <a:rPr lang="en-US" spc="-4" smtClean="0"/>
              <a:pPr marL="53338">
                <a:spcBef>
                  <a:spcPts val="30"/>
                </a:spcBef>
              </a:pPr>
              <a:t>‹#›</a:t>
            </a:fld>
            <a:endParaRPr lang="en-US" spc="-4" dirty="0"/>
          </a:p>
        </p:txBody>
      </p:sp>
    </p:spTree>
    <p:extLst>
      <p:ext uri="{BB962C8B-B14F-4D97-AF65-F5344CB8AC3E}">
        <p14:creationId xmlns:p14="http://schemas.microsoft.com/office/powerpoint/2010/main" val="4214411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-up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9" y="65485"/>
            <a:ext cx="8996362" cy="25955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438" y="457204"/>
            <a:ext cx="4041648" cy="4231481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  <a:lvl2pPr marL="453946" marR="0" indent="-279351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2pPr>
            <a:lvl3pPr marL="971381" marR="0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 sz="1100">
                <a:solidFill>
                  <a:schemeClr val="accent2"/>
                </a:solidFill>
              </a:defRPr>
            </a:lvl3pPr>
            <a:lvl4pPr marL="1485641" marR="0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 sz="1100">
                <a:solidFill>
                  <a:schemeClr val="accent2"/>
                </a:solidFill>
              </a:defRPr>
            </a:lvl4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0" marR="0" lvl="1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0" marR="0" lvl="2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0" marR="0" lvl="3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5026152" y="457204"/>
            <a:ext cx="4041648" cy="4231481"/>
          </a:xfrm>
        </p:spPr>
        <p:txBody>
          <a:bodyPr>
            <a:normAutofit/>
          </a:bodyPr>
          <a:lstStyle>
            <a:lvl1pPr marL="0" marR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accent2"/>
                </a:solidFill>
              </a:defRPr>
            </a:lvl1pPr>
            <a:lvl2pPr marL="453946" marR="0" indent="-279351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 sz="1200">
                <a:solidFill>
                  <a:schemeClr val="accent2"/>
                </a:solidFill>
              </a:defRPr>
            </a:lvl2pPr>
            <a:lvl3pPr marL="971381" marR="0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 sz="1100">
                <a:solidFill>
                  <a:schemeClr val="accent2"/>
                </a:solidFill>
              </a:defRPr>
            </a:lvl3pPr>
            <a:lvl4pPr marL="1485641" marR="0" indent="-282525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–"/>
              <a:tabLst/>
              <a:defRPr sz="1100">
                <a:solidFill>
                  <a:schemeClr val="accent2"/>
                </a:solidFill>
              </a:defRPr>
            </a:lvl4pPr>
          </a:lstStyle>
          <a:p>
            <a:pPr marL="0" marR="0" lvl="0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0" marR="0" lvl="1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0" marR="0" lvl="2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0" marR="0" lvl="3" indent="0" algn="l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160874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up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00" y="60471"/>
            <a:ext cx="8997696" cy="264570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1498" y="464973"/>
            <a:ext cx="8997696" cy="1879092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1"/>
          </p:nvPr>
        </p:nvSpPr>
        <p:spPr>
          <a:xfrm>
            <a:off x="71498" y="2912001"/>
            <a:ext cx="8997696" cy="1879092"/>
          </a:xfrm>
        </p:spPr>
        <p:txBody>
          <a:bodyPr lIns="0" tIns="0" rIns="0" bIns="0"/>
          <a:lstStyle>
            <a:lvl1pPr marL="0" marR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45712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971381" marR="0" indent="-22856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–"/>
              <a:tabLst/>
              <a:defRPr/>
            </a:lvl3pPr>
            <a:lvl4pPr marL="1485641" marR="0" indent="-28570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–"/>
              <a:tabLst/>
              <a:defRPr/>
            </a:lvl4pPr>
          </a:lstStyle>
          <a:p>
            <a:pPr marL="0" marR="0" lvl="0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Click to edit Master text styles</a:t>
            </a:r>
          </a:p>
          <a:p>
            <a:pPr marL="0" marR="0" lvl="1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Second level</a:t>
            </a:r>
          </a:p>
          <a:p>
            <a:pPr marL="0" marR="0" lvl="2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Third level</a:t>
            </a:r>
          </a:p>
          <a:p>
            <a:pPr marL="0" marR="0" lvl="3" indent="0" algn="l" defTabSz="914241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5A5A5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+mn-lt"/>
              </a:rPr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141565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9" Type="http://schemas.openxmlformats.org/officeDocument/2006/relationships/theme" Target="../theme/theme2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34" Type="http://schemas.openxmlformats.org/officeDocument/2006/relationships/slideLayout" Target="../slideLayouts/slideLayout68.xml"/><Relationship Id="rId42" Type="http://schemas.openxmlformats.org/officeDocument/2006/relationships/image" Target="../media/image5.emf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slideLayout" Target="../slideLayouts/slideLayout67.xml"/><Relationship Id="rId38" Type="http://schemas.openxmlformats.org/officeDocument/2006/relationships/slideLayout" Target="../slideLayouts/slideLayout72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3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slideLayout" Target="../slideLayouts/slideLayout66.xml"/><Relationship Id="rId37" Type="http://schemas.openxmlformats.org/officeDocument/2006/relationships/slideLayout" Target="../slideLayouts/slideLayout71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36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slideLayout" Target="../slideLayouts/slideLayout65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Relationship Id="rId35" Type="http://schemas.openxmlformats.org/officeDocument/2006/relationships/slideLayout" Target="../slideLayouts/slideLayout6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1074" y="56722"/>
            <a:ext cx="8720919" cy="260604"/>
          </a:xfrm>
          <a:prstGeom prst="rect">
            <a:avLst/>
          </a:prstGeom>
        </p:spPr>
        <p:txBody>
          <a:bodyPr vert="horz" lIns="0" tIns="45713" rIns="91424" bIns="45713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1070" y="457204"/>
            <a:ext cx="8720920" cy="42314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Box 5"/>
          <p:cNvSpPr txBox="1">
            <a:spLocks noChangeArrowheads="1"/>
          </p:cNvSpPr>
          <p:nvPr userDrawn="1"/>
        </p:nvSpPr>
        <p:spPr bwMode="auto">
          <a:xfrm>
            <a:off x="4411669" y="4959569"/>
            <a:ext cx="320675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>
              <a:defRPr sz="8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 sz="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 sz="8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 sz="8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 sz="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defRPr/>
            </a:pPr>
            <a:fld id="{E3C62BDA-FEF5-462D-9E25-31FC237A2F61}" type="slidenum">
              <a:rPr lang="en-US" sz="1000" smtClean="0">
                <a:solidFill>
                  <a:schemeClr val="accent2"/>
                </a:solidFill>
                <a:latin typeface="Calibri" panose="020F0502020204030204" pitchFamily="34" charset="0"/>
              </a:rPr>
              <a:pPr algn="ctr"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chemeClr val="accent2"/>
              </a:solidFill>
              <a:latin typeface="Calibri" panose="020F050202020403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6270" y="4749179"/>
            <a:ext cx="1131929" cy="299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342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0" r:id="rId1"/>
    <p:sldLayoutId id="2147484012" r:id="rId2"/>
    <p:sldLayoutId id="2147484021" r:id="rId3"/>
    <p:sldLayoutId id="2147483927" r:id="rId4"/>
    <p:sldLayoutId id="2147483908" r:id="rId5"/>
    <p:sldLayoutId id="2147484018" r:id="rId6"/>
    <p:sldLayoutId id="2147483903" r:id="rId7"/>
    <p:sldLayoutId id="2147484011" r:id="rId8"/>
    <p:sldLayoutId id="2147484014" r:id="rId9"/>
    <p:sldLayoutId id="2147483990" r:id="rId10"/>
    <p:sldLayoutId id="2147483991" r:id="rId11"/>
    <p:sldLayoutId id="2147483989" r:id="rId12"/>
    <p:sldLayoutId id="2147483992" r:id="rId13"/>
    <p:sldLayoutId id="2147484013" r:id="rId14"/>
    <p:sldLayoutId id="2147483993" r:id="rId15"/>
    <p:sldLayoutId id="2147483994" r:id="rId16"/>
    <p:sldLayoutId id="2147483995" r:id="rId17"/>
    <p:sldLayoutId id="2147483996" r:id="rId18"/>
    <p:sldLayoutId id="2147483997" r:id="rId19"/>
    <p:sldLayoutId id="2147483998" r:id="rId20"/>
    <p:sldLayoutId id="2147483999" r:id="rId21"/>
    <p:sldLayoutId id="2147484000" r:id="rId22"/>
    <p:sldLayoutId id="2147484001" r:id="rId23"/>
    <p:sldLayoutId id="2147484002" r:id="rId24"/>
    <p:sldLayoutId id="2147484003" r:id="rId25"/>
    <p:sldLayoutId id="2147484004" r:id="rId26"/>
    <p:sldLayoutId id="2147484005" r:id="rId27"/>
    <p:sldLayoutId id="2147484006" r:id="rId28"/>
    <p:sldLayoutId id="2147484007" r:id="rId29"/>
    <p:sldLayoutId id="2147484008" r:id="rId30"/>
    <p:sldLayoutId id="2147484009" r:id="rId31"/>
    <p:sldLayoutId id="2147484010" r:id="rId32"/>
    <p:sldLayoutId id="2147484019" r:id="rId33"/>
    <p:sldLayoutId id="2147484088" r:id="rId34"/>
  </p:sldLayoutIdLst>
  <p:txStyles>
    <p:titleStyle>
      <a:lvl1pPr algn="l" defTabSz="914241" rtl="0" eaLnBrk="1" latinLnBrk="0" hangingPunct="1">
        <a:spcBef>
          <a:spcPct val="0"/>
        </a:spcBef>
        <a:buNone/>
        <a:defRPr sz="2200" b="0" kern="1200">
          <a:solidFill>
            <a:srgbClr val="FF0000"/>
          </a:solidFill>
          <a:latin typeface="Calibri" panose="020F050202020403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241" rtl="0" eaLnBrk="1" latinLnBrk="0" hangingPunct="1"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400" kern="1200">
          <a:solidFill>
            <a:srgbClr val="5A5A5A"/>
          </a:solidFill>
          <a:latin typeface="Calibri" panose="020F0502020204030204" pitchFamily="34" charset="0"/>
          <a:ea typeface="+mn-ea"/>
          <a:cs typeface="Arial" panose="020B0604020202020204" pitchFamily="34" charset="0"/>
        </a:defRPr>
      </a:lvl1pPr>
      <a:lvl2pPr marL="453946" indent="-279351" algn="l" defTabSz="914241" rtl="0" eaLnBrk="1" latinLnBrk="0" hangingPunct="1">
        <a:spcBef>
          <a:spcPts val="0"/>
        </a:spcBef>
        <a:spcAft>
          <a:spcPts val="1000"/>
        </a:spcAft>
        <a:buSzPct val="90000"/>
        <a:buFont typeface="Wingdings" panose="05000000000000000000" pitchFamily="2" charset="2"/>
        <a:buChar char="§"/>
        <a:defRPr sz="1400" kern="1200">
          <a:solidFill>
            <a:srgbClr val="5A5A5A"/>
          </a:solidFill>
          <a:latin typeface="Calibri" panose="020F0502020204030204" pitchFamily="34" charset="0"/>
          <a:ea typeface="+mn-ea"/>
          <a:cs typeface="Arial" panose="020B0604020202020204" pitchFamily="34" charset="0"/>
        </a:defRPr>
      </a:lvl2pPr>
      <a:lvl3pPr marL="971381" indent="-282525" algn="l" defTabSz="914241" rtl="0" eaLnBrk="1" latinLnBrk="0" hangingPunct="1"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200" kern="1200">
          <a:solidFill>
            <a:srgbClr val="5A5A5A"/>
          </a:solidFill>
          <a:latin typeface="Calibri" panose="020F0502020204030204" pitchFamily="34" charset="0"/>
          <a:ea typeface="+mn-ea"/>
          <a:cs typeface="Arial" panose="020B0604020202020204" pitchFamily="34" charset="0"/>
        </a:defRPr>
      </a:lvl3pPr>
      <a:lvl4pPr marL="1485641" indent="-282525" algn="l" defTabSz="914241" rtl="0" eaLnBrk="1" latinLnBrk="0" hangingPunct="1"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000" kern="1200">
          <a:solidFill>
            <a:srgbClr val="5A5A5A"/>
          </a:solidFill>
          <a:latin typeface="Calibri" panose="020F0502020204030204" pitchFamily="34" charset="0"/>
          <a:ea typeface="+mn-ea"/>
          <a:cs typeface="Arial" panose="020B0604020202020204" pitchFamily="34" charset="0"/>
        </a:defRPr>
      </a:lvl4pPr>
      <a:lvl5pPr marL="2057041" indent="-228560" algn="l" defTabSz="914241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161" indent="-228560" algn="l" defTabSz="91424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81" indent="-228560" algn="l" defTabSz="91424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00" indent="-228560" algn="l" defTabSz="91424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21" indent="-228560" algn="l" defTabSz="91424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1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1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1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1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9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1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60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947" y="65485"/>
            <a:ext cx="8998857" cy="259556"/>
          </a:xfrm>
          <a:prstGeom prst="rect">
            <a:avLst/>
          </a:prstGeom>
        </p:spPr>
        <p:txBody>
          <a:bodyPr vert="horz" lIns="0" tIns="45713" rIns="91424" bIns="45713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439" y="457204"/>
            <a:ext cx="8996362" cy="43434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Line 4"/>
          <p:cNvSpPr>
            <a:spLocks noChangeShapeType="1"/>
          </p:cNvSpPr>
          <p:nvPr/>
        </p:nvSpPr>
        <p:spPr bwMode="auto">
          <a:xfrm flipV="1">
            <a:off x="77724" y="4861628"/>
            <a:ext cx="8988552" cy="0"/>
          </a:xfrm>
          <a:prstGeom prst="line">
            <a:avLst/>
          </a:prstGeom>
          <a:noFill/>
          <a:ln w="9525">
            <a:solidFill>
              <a:srgbClr val="82828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4" tIns="45713" rIns="91424" bIns="45713"/>
          <a:lstStyle/>
          <a:p>
            <a:endParaRPr lang="en-CA">
              <a:solidFill>
                <a:srgbClr val="5A5A5A"/>
              </a:solidFill>
            </a:endParaRPr>
          </a:p>
        </p:txBody>
      </p:sp>
      <p:sp>
        <p:nvSpPr>
          <p:cNvPr id="12" name="Line 4"/>
          <p:cNvSpPr>
            <a:spLocks noChangeShapeType="1"/>
          </p:cNvSpPr>
          <p:nvPr/>
        </p:nvSpPr>
        <p:spPr bwMode="auto">
          <a:xfrm flipV="1">
            <a:off x="77724" y="380405"/>
            <a:ext cx="8988552" cy="0"/>
          </a:xfrm>
          <a:prstGeom prst="line">
            <a:avLst/>
          </a:prstGeom>
          <a:noFill/>
          <a:ln w="9525">
            <a:solidFill>
              <a:srgbClr val="82828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4" tIns="45713" rIns="91424" bIns="45713"/>
          <a:lstStyle/>
          <a:p>
            <a:endParaRPr lang="en-CA">
              <a:solidFill>
                <a:srgbClr val="5A5A5A"/>
              </a:solidFill>
            </a:endParaRP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4411669" y="4959569"/>
            <a:ext cx="320675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>
              <a:defRPr sz="800"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 sz="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 sz="800"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 sz="800"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 sz="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defRPr/>
            </a:pPr>
            <a:fld id="{E3C62BDA-FEF5-462D-9E25-31FC237A2F61}" type="slidenum">
              <a:rPr lang="en-US" sz="1000" smtClean="0">
                <a:solidFill>
                  <a:srgbClr val="5A5A5A"/>
                </a:solidFill>
              </a:rPr>
              <a:pPr algn="ctr">
                <a:spcBef>
                  <a:spcPct val="0"/>
                </a:spcBef>
                <a:defRPr/>
              </a:pPr>
              <a:t>‹#›</a:t>
            </a:fld>
            <a:endParaRPr lang="en-US" sz="1000" dirty="0">
              <a:solidFill>
                <a:srgbClr val="5A5A5A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679" y="4933970"/>
            <a:ext cx="1165125" cy="1577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6" y="4992501"/>
            <a:ext cx="1687793" cy="61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empower - DO NOT DELETE!!!" hidden="1"/>
          <p:cNvSpPr/>
          <p:nvPr>
            <p:custDataLst>
              <p:tags r:id="rId40"/>
            </p:custDataLst>
          </p:nvPr>
        </p:nvSpPr>
        <p:spPr>
          <a:xfrm>
            <a:off x="-1270000" y="-95250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3" rIns="91424" bIns="4571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2550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4" r:id="rId1"/>
    <p:sldLayoutId id="2147484045" r:id="rId2"/>
    <p:sldLayoutId id="2147484046" r:id="rId3"/>
    <p:sldLayoutId id="2147484047" r:id="rId4"/>
    <p:sldLayoutId id="2147484051" r:id="rId5"/>
    <p:sldLayoutId id="2147484052" r:id="rId6"/>
    <p:sldLayoutId id="2147484053" r:id="rId7"/>
    <p:sldLayoutId id="2147484054" r:id="rId8"/>
    <p:sldLayoutId id="2147484055" r:id="rId9"/>
    <p:sldLayoutId id="2147484056" r:id="rId10"/>
    <p:sldLayoutId id="2147484057" r:id="rId11"/>
    <p:sldLayoutId id="2147484058" r:id="rId12"/>
    <p:sldLayoutId id="2147484059" r:id="rId13"/>
    <p:sldLayoutId id="2147484060" r:id="rId14"/>
    <p:sldLayoutId id="2147484061" r:id="rId15"/>
    <p:sldLayoutId id="2147484062" r:id="rId16"/>
    <p:sldLayoutId id="2147484063" r:id="rId17"/>
    <p:sldLayoutId id="2147484064" r:id="rId18"/>
    <p:sldLayoutId id="2147484065" r:id="rId19"/>
    <p:sldLayoutId id="2147484066" r:id="rId20"/>
    <p:sldLayoutId id="2147484067" r:id="rId21"/>
    <p:sldLayoutId id="2147484068" r:id="rId22"/>
    <p:sldLayoutId id="2147484069" r:id="rId23"/>
    <p:sldLayoutId id="2147484070" r:id="rId24"/>
    <p:sldLayoutId id="2147484071" r:id="rId25"/>
    <p:sldLayoutId id="2147484072" r:id="rId26"/>
    <p:sldLayoutId id="2147484073" r:id="rId27"/>
    <p:sldLayoutId id="2147484074" r:id="rId28"/>
    <p:sldLayoutId id="2147484075" r:id="rId29"/>
    <p:sldLayoutId id="2147484076" r:id="rId30"/>
    <p:sldLayoutId id="2147484077" r:id="rId31"/>
    <p:sldLayoutId id="2147484078" r:id="rId32"/>
    <p:sldLayoutId id="2147484079" r:id="rId33"/>
    <p:sldLayoutId id="2147484080" r:id="rId34"/>
    <p:sldLayoutId id="2147484081" r:id="rId35"/>
    <p:sldLayoutId id="2147484082" r:id="rId36"/>
    <p:sldLayoutId id="2147484086" r:id="rId37"/>
    <p:sldLayoutId id="2147484087" r:id="rId38"/>
  </p:sldLayoutIdLst>
  <p:txStyles>
    <p:titleStyle>
      <a:lvl1pPr algn="l" defTabSz="914241" rtl="0" eaLnBrk="1" latinLnBrk="0" hangingPunct="1">
        <a:spcBef>
          <a:spcPct val="0"/>
        </a:spcBef>
        <a:buNone/>
        <a:defRPr sz="2400" kern="1200">
          <a:solidFill>
            <a:schemeClr val="accent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241" rtl="0" eaLnBrk="1" latinLnBrk="0" hangingPunct="1"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400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3946" indent="-279351" algn="l" defTabSz="914241" rtl="0" eaLnBrk="1" latinLnBrk="0" hangingPunct="1">
        <a:spcBef>
          <a:spcPts val="0"/>
        </a:spcBef>
        <a:spcAft>
          <a:spcPts val="1000"/>
        </a:spcAft>
        <a:buSzPct val="90000"/>
        <a:buFont typeface="Wingdings" panose="05000000000000000000" pitchFamily="2" charset="2"/>
        <a:buChar char="§"/>
        <a:defRPr sz="1400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71381" indent="-282525" algn="l" defTabSz="914241" rtl="0" eaLnBrk="1" latinLnBrk="0" hangingPunct="1">
        <a:spcBef>
          <a:spcPts val="0"/>
        </a:spcBef>
        <a:spcAft>
          <a:spcPts val="1000"/>
        </a:spcAft>
        <a:buSzPct val="90000"/>
        <a:buFont typeface="Arial" panose="020B0604020202020204" pitchFamily="34" charset="0"/>
        <a:buChar char="–"/>
        <a:defRPr sz="1200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5641" indent="-282525" algn="l" defTabSz="914241" rtl="0" eaLnBrk="1" latinLnBrk="0" hangingPunct="1">
        <a:spcBef>
          <a:spcPts val="0"/>
        </a:spcBef>
        <a:spcAft>
          <a:spcPts val="1000"/>
        </a:spcAft>
        <a:buSzPct val="90000"/>
        <a:buFont typeface="Arial" panose="020B0604020202020204" pitchFamily="34" charset="0"/>
        <a:buChar char="–"/>
        <a:defRPr sz="1000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041" indent="-228560" algn="l" defTabSz="914241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161" indent="-228560" algn="l" defTabSz="91424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81" indent="-228560" algn="l" defTabSz="91424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00" indent="-228560" algn="l" defTabSz="91424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21" indent="-228560" algn="l" defTabSz="91424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1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1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1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1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9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1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60" algn="l" defTabSz="9142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CA" dirty="0">
                <a:latin typeface="Calibri" panose="020F0502020204030204" pitchFamily="34" charset="0"/>
              </a:rPr>
              <a:t>Rania Llewellyn, EVP Global Business Payments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453580" y="2552434"/>
            <a:ext cx="5919788" cy="414338"/>
          </a:xfrm>
        </p:spPr>
        <p:txBody>
          <a:bodyPr/>
          <a:lstStyle/>
          <a:p>
            <a:r>
              <a:rPr lang="en-CA" dirty="0">
                <a:latin typeface="Calibri" panose="020F0502020204030204" pitchFamily="34" charset="0"/>
              </a:rPr>
              <a:t>GLOBAL BUSINESS PAYMENTS: An agile transformation story</a:t>
            </a:r>
            <a:endParaRPr 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97365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7426" y="294755"/>
            <a:ext cx="8789159" cy="264570"/>
          </a:xfrm>
        </p:spPr>
        <p:txBody>
          <a:bodyPr/>
          <a:lstStyle/>
          <a:p>
            <a:r>
              <a:rPr lang="en-CA" dirty="0"/>
              <a:t>GLOBAL BUSINESS PAYMENTS: AT A GLANCE</a:t>
            </a:r>
            <a:endParaRPr lang="en-US" dirty="0"/>
          </a:p>
        </p:txBody>
      </p:sp>
      <p:sp>
        <p:nvSpPr>
          <p:cNvPr id="36" name="Rectangle 35"/>
          <p:cNvSpPr/>
          <p:nvPr/>
        </p:nvSpPr>
        <p:spPr>
          <a:xfrm>
            <a:off x="7151218" y="2260096"/>
            <a:ext cx="1415147" cy="1052870"/>
          </a:xfrm>
          <a:prstGeom prst="rect">
            <a:avLst/>
          </a:prstGeom>
        </p:spPr>
        <p:txBody>
          <a:bodyPr wrap="square" lIns="91436" tIns="45718" rIns="91436" bIns="45718" anchor="ctr">
            <a:noAutofit/>
          </a:bodyPr>
          <a:lstStyle/>
          <a:p>
            <a:pPr marL="171442" indent="-171442" algn="l" defTabSz="914355" eaLnBrk="1" hangingPunct="1">
              <a:lnSpc>
                <a:spcPct val="106000"/>
              </a:lnSpc>
              <a:spcBef>
                <a:spcPct val="0"/>
              </a:spcBef>
              <a:buClr>
                <a:srgbClr val="404040"/>
              </a:buClr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2243138" y="717550"/>
            <a:ext cx="4691387" cy="27475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en-US" b="1" dirty="0">
                <a:solidFill>
                  <a:srgbClr val="EC1B2E"/>
                </a:solidFill>
              </a:rPr>
              <a:t>Who we are</a:t>
            </a: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2332038" y="1923784"/>
            <a:ext cx="4691387" cy="27475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en-US" b="1" dirty="0">
                <a:solidFill>
                  <a:srgbClr val="EC1B2E"/>
                </a:solidFill>
                <a:latin typeface="Calibri" panose="020F0502020204030204" pitchFamily="34" charset="0"/>
              </a:rPr>
              <a:t>Who we support </a:t>
            </a:r>
          </a:p>
        </p:txBody>
      </p:sp>
      <p:sp>
        <p:nvSpPr>
          <p:cNvPr id="9" name="Rectangle 8"/>
          <p:cNvSpPr/>
          <p:nvPr/>
        </p:nvSpPr>
        <p:spPr>
          <a:xfrm>
            <a:off x="477549" y="1016115"/>
            <a:ext cx="82365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CA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ponsible for the Bank’s Cash Management, Business Payments, Trade Finance and Correspondent Banking business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064105" y="3145361"/>
            <a:ext cx="1697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mall Business</a:t>
            </a:r>
          </a:p>
        </p:txBody>
      </p:sp>
      <p:pic>
        <p:nvPicPr>
          <p:cNvPr id="11" name="Picture 2" descr="C:\Users\s5891736\Documents\_RESOURCES\Icons\images\Commercial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7065" y="2365420"/>
            <a:ext cx="928541" cy="928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 descr="C:\Users\s5891736\Documents\_RESOURCES\Icons\images\Corporate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8772" y="2297964"/>
            <a:ext cx="928541" cy="928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C:\Users\s5891736\Documents\_RESOURCES\Icons\images\smallBbusiness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0424" y="2425380"/>
            <a:ext cx="928541" cy="928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3716933" y="3145361"/>
            <a:ext cx="1697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ercia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265667" y="3145361"/>
            <a:ext cx="1697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rporate</a:t>
            </a:r>
          </a:p>
        </p:txBody>
      </p:sp>
      <p:sp>
        <p:nvSpPr>
          <p:cNvPr id="16" name="Rounded Rectangle 21"/>
          <p:cNvSpPr/>
          <p:nvPr/>
        </p:nvSpPr>
        <p:spPr>
          <a:xfrm>
            <a:off x="160516" y="3903971"/>
            <a:ext cx="1432828" cy="4944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gital Channels</a:t>
            </a:r>
          </a:p>
        </p:txBody>
      </p:sp>
      <p:sp>
        <p:nvSpPr>
          <p:cNvPr id="17" name="Rounded Rectangle 22"/>
          <p:cNvSpPr/>
          <p:nvPr/>
        </p:nvSpPr>
        <p:spPr>
          <a:xfrm>
            <a:off x="1708274" y="3903970"/>
            <a:ext cx="1302571" cy="4944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osits</a:t>
            </a:r>
          </a:p>
        </p:txBody>
      </p:sp>
      <p:sp>
        <p:nvSpPr>
          <p:cNvPr id="18" name="Rounded Rectangle 23"/>
          <p:cNvSpPr/>
          <p:nvPr/>
        </p:nvSpPr>
        <p:spPr>
          <a:xfrm>
            <a:off x="3125775" y="3903969"/>
            <a:ext cx="1302571" cy="4944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yments</a:t>
            </a:r>
          </a:p>
        </p:txBody>
      </p:sp>
      <p:sp>
        <p:nvSpPr>
          <p:cNvPr id="19" name="Rounded Rectangle 24"/>
          <p:cNvSpPr/>
          <p:nvPr/>
        </p:nvSpPr>
        <p:spPr>
          <a:xfrm>
            <a:off x="4543276" y="3903968"/>
            <a:ext cx="1302571" cy="4944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ent Support</a:t>
            </a:r>
          </a:p>
        </p:txBody>
      </p:sp>
      <p:sp>
        <p:nvSpPr>
          <p:cNvPr id="20" name="Rounded Rectangle 25"/>
          <p:cNvSpPr/>
          <p:nvPr/>
        </p:nvSpPr>
        <p:spPr>
          <a:xfrm>
            <a:off x="5960777" y="3903971"/>
            <a:ext cx="1302571" cy="4944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de Finance</a:t>
            </a:r>
          </a:p>
        </p:txBody>
      </p:sp>
      <p:sp>
        <p:nvSpPr>
          <p:cNvPr id="21" name="Rounded Rectangle 28"/>
          <p:cNvSpPr/>
          <p:nvPr/>
        </p:nvSpPr>
        <p:spPr>
          <a:xfrm>
            <a:off x="7378277" y="3902800"/>
            <a:ext cx="1576111" cy="4944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rrespondent Banking</a:t>
            </a:r>
          </a:p>
        </p:txBody>
      </p:sp>
    </p:spTree>
    <p:extLst>
      <p:ext uri="{BB962C8B-B14F-4D97-AF65-F5344CB8AC3E}">
        <p14:creationId xmlns:p14="http://schemas.microsoft.com/office/powerpoint/2010/main" val="41087785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7426" y="294755"/>
            <a:ext cx="8789159" cy="264570"/>
          </a:xfrm>
        </p:spPr>
        <p:txBody>
          <a:bodyPr/>
          <a:lstStyle/>
          <a:p>
            <a:r>
              <a:rPr lang="en-CA" dirty="0"/>
              <a:t>THE JOURNEY</a:t>
            </a:r>
            <a:endParaRPr lang="en-US" dirty="0"/>
          </a:p>
        </p:txBody>
      </p:sp>
      <p:sp>
        <p:nvSpPr>
          <p:cNvPr id="36" name="Rectangle 35"/>
          <p:cNvSpPr/>
          <p:nvPr/>
        </p:nvSpPr>
        <p:spPr>
          <a:xfrm>
            <a:off x="7151218" y="2260096"/>
            <a:ext cx="1415147" cy="1052870"/>
          </a:xfrm>
          <a:prstGeom prst="rect">
            <a:avLst/>
          </a:prstGeom>
        </p:spPr>
        <p:txBody>
          <a:bodyPr wrap="square" lIns="91436" tIns="45718" rIns="91436" bIns="45718" anchor="ctr">
            <a:noAutofit/>
          </a:bodyPr>
          <a:lstStyle/>
          <a:p>
            <a:pPr marL="171442" indent="-171442" algn="l" defTabSz="914355" eaLnBrk="1" hangingPunct="1">
              <a:lnSpc>
                <a:spcPct val="106000"/>
              </a:lnSpc>
              <a:spcBef>
                <a:spcPct val="0"/>
              </a:spcBef>
              <a:buClr>
                <a:srgbClr val="404040"/>
              </a:buClr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4" name="Table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4678623"/>
              </p:ext>
            </p:extLst>
          </p:nvPr>
        </p:nvGraphicFramePr>
        <p:xfrm>
          <a:off x="309794" y="931718"/>
          <a:ext cx="3638550" cy="29537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85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93469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storical Product Approach</a:t>
                      </a:r>
                    </a:p>
                  </a:txBody>
                  <a:tcPr anchor="ctr">
                    <a:solidFill>
                      <a:srgbClr val="EA00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8684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reactive product development approach, late adopter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800" baseline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indent="-285750" algn="l" defTabSz="914241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vercomplicated product offering with complex onboarding and servicing processes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800" baseline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85750" indent="-285750" algn="l" defTabSz="914241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loed</a:t>
                      </a:r>
                      <a:r>
                        <a:rPr lang="en-US" sz="18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strategic planning and execution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75" name="Table 74"/>
          <p:cNvGraphicFramePr>
            <a:graphicFrameLocks noGrp="1"/>
          </p:cNvGraphicFramePr>
          <p:nvPr>
            <p:extLst/>
          </p:nvPr>
        </p:nvGraphicFramePr>
        <p:xfrm>
          <a:off x="5280676" y="921467"/>
          <a:ext cx="3489251" cy="29688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892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08569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w Product Approach</a:t>
                      </a:r>
                    </a:p>
                  </a:txBody>
                  <a:tcPr anchor="ctr">
                    <a:solidFill>
                      <a:srgbClr val="EA00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86844">
                <a:tc>
                  <a:txBody>
                    <a:bodyPr/>
                    <a:lstStyle/>
                    <a:p>
                      <a:pPr marL="285750" indent="-285750" algn="l" defTabSz="914241" rtl="0" eaLnBrk="1" latinLnBrk="0" hangingPunct="1">
                        <a:buFont typeface="Wingdings" panose="05000000000000000000" pitchFamily="2" charset="2"/>
                        <a:buChar char="ü"/>
                      </a:pPr>
                      <a:r>
                        <a:rPr lang="en-US" sz="18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customer-centric product management culture</a:t>
                      </a:r>
                    </a:p>
                    <a:p>
                      <a:pPr marL="285750" indent="-285750" algn="l" defTabSz="914241" rtl="0" eaLnBrk="1" latinLnBrk="0" hangingPunct="1">
                        <a:buFont typeface="Wingdings" panose="05000000000000000000" pitchFamily="2" charset="2"/>
                        <a:buChar char="ü"/>
                      </a:pPr>
                      <a:endParaRPr lang="en-US" sz="18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85750" indent="-285750" algn="l" defTabSz="914241" rtl="0" eaLnBrk="1" latinLnBrk="0" hangingPunct="1">
                        <a:buFont typeface="Wingdings" panose="05000000000000000000" pitchFamily="2" charset="2"/>
                        <a:buChar char="ü"/>
                      </a:pPr>
                      <a:r>
                        <a:rPr lang="en-US" sz="18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sing agile processes to get products to market quicker and more efficiently</a:t>
                      </a:r>
                    </a:p>
                    <a:p>
                      <a:pPr marL="285750" marR="0" lvl="1" indent="-28575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endParaRPr lang="en-US" altLang="en-US" sz="18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85750" marR="0" lvl="1" indent="-28575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altLang="en-US" sz="18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fined value proposition and alignment with our partners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6" name="Isosceles Triangle 75"/>
          <p:cNvSpPr/>
          <p:nvPr/>
        </p:nvSpPr>
        <p:spPr>
          <a:xfrm rot="5400000">
            <a:off x="3082635" y="2343152"/>
            <a:ext cx="3131130" cy="4953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2298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7426" y="225482"/>
            <a:ext cx="8789159" cy="264570"/>
          </a:xfrm>
        </p:spPr>
        <p:txBody>
          <a:bodyPr/>
          <a:lstStyle/>
          <a:p>
            <a:r>
              <a:rPr lang="en-CA" dirty="0"/>
              <a:t>FOUNDATION FOR SUCCESS</a:t>
            </a:r>
            <a:endParaRPr lang="en-US" dirty="0"/>
          </a:p>
        </p:txBody>
      </p:sp>
      <p:sp>
        <p:nvSpPr>
          <p:cNvPr id="36" name="Rectangle 35"/>
          <p:cNvSpPr/>
          <p:nvPr/>
        </p:nvSpPr>
        <p:spPr>
          <a:xfrm>
            <a:off x="7151218" y="2260096"/>
            <a:ext cx="1415147" cy="1052870"/>
          </a:xfrm>
          <a:prstGeom prst="rect">
            <a:avLst/>
          </a:prstGeom>
        </p:spPr>
        <p:txBody>
          <a:bodyPr wrap="square" lIns="91436" tIns="45718" rIns="91436" bIns="45718" anchor="ctr">
            <a:noAutofit/>
          </a:bodyPr>
          <a:lstStyle/>
          <a:p>
            <a:pPr marL="171442" indent="-171442" algn="l" defTabSz="914355" eaLnBrk="1" hangingPunct="1">
              <a:lnSpc>
                <a:spcPct val="106000"/>
              </a:lnSpc>
              <a:spcBef>
                <a:spcPct val="0"/>
              </a:spcBef>
              <a:buClr>
                <a:srgbClr val="404040"/>
              </a:buClr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1080653" y="1136077"/>
            <a:ext cx="6933305" cy="2718109"/>
            <a:chOff x="1080653" y="1330033"/>
            <a:chExt cx="6933305" cy="2718109"/>
          </a:xfrm>
        </p:grpSpPr>
        <p:grpSp>
          <p:nvGrpSpPr>
            <p:cNvPr id="40" name="Group 39"/>
            <p:cNvGrpSpPr/>
            <p:nvPr/>
          </p:nvGrpSpPr>
          <p:grpSpPr>
            <a:xfrm>
              <a:off x="1080653" y="1330033"/>
              <a:ext cx="3378531" cy="1282535"/>
              <a:chOff x="1080653" y="1330033"/>
              <a:chExt cx="3378531" cy="1282535"/>
            </a:xfrm>
          </p:grpSpPr>
          <p:sp>
            <p:nvSpPr>
              <p:cNvPr id="70" name="Rounded Rectangle 69"/>
              <p:cNvSpPr/>
              <p:nvPr/>
            </p:nvSpPr>
            <p:spPr>
              <a:xfrm>
                <a:off x="1080653" y="1330033"/>
                <a:ext cx="3378531" cy="1282535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Oval 70"/>
              <p:cNvSpPr/>
              <p:nvPr/>
            </p:nvSpPr>
            <p:spPr bwMode="auto">
              <a:xfrm>
                <a:off x="1272639" y="1476164"/>
                <a:ext cx="976023" cy="990273"/>
              </a:xfrm>
              <a:prstGeom prst="ellipse">
                <a:avLst/>
              </a:prstGeom>
              <a:solidFill>
                <a:schemeClr val="bg1"/>
              </a:solidFill>
              <a:ln w="0" cmpd="sng">
                <a:solidFill>
                  <a:schemeClr val="bg1">
                    <a:lumMod val="50000"/>
                  </a:schemeClr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>
                  <a:latin typeface="Calibri Light"/>
                </a:endParaRPr>
              </a:p>
            </p:txBody>
          </p:sp>
          <p:sp>
            <p:nvSpPr>
              <p:cNvPr id="72" name="TextBox 71"/>
              <p:cNvSpPr txBox="1"/>
              <p:nvPr/>
            </p:nvSpPr>
            <p:spPr>
              <a:xfrm>
                <a:off x="2400954" y="1617357"/>
                <a:ext cx="1582776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CA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ulture change</a:t>
                </a:r>
              </a:p>
            </p:txBody>
          </p:sp>
          <p:pic>
            <p:nvPicPr>
              <p:cNvPr id="73" name="Picture 5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1478582" y="1753053"/>
                <a:ext cx="563224" cy="4602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1" name="Group 40"/>
            <p:cNvGrpSpPr/>
            <p:nvPr/>
          </p:nvGrpSpPr>
          <p:grpSpPr>
            <a:xfrm>
              <a:off x="4625438" y="1330033"/>
              <a:ext cx="3378531" cy="1282535"/>
              <a:chOff x="4625438" y="1330033"/>
              <a:chExt cx="3378531" cy="1282535"/>
            </a:xfrm>
          </p:grpSpPr>
          <p:sp>
            <p:nvSpPr>
              <p:cNvPr id="66" name="Rounded Rectangle 65"/>
              <p:cNvSpPr/>
              <p:nvPr/>
            </p:nvSpPr>
            <p:spPr>
              <a:xfrm>
                <a:off x="4625438" y="1330033"/>
                <a:ext cx="3378531" cy="1282535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Oval 66"/>
              <p:cNvSpPr/>
              <p:nvPr/>
            </p:nvSpPr>
            <p:spPr bwMode="auto">
              <a:xfrm>
                <a:off x="4892571" y="1476164"/>
                <a:ext cx="976023" cy="990273"/>
              </a:xfrm>
              <a:prstGeom prst="ellipse">
                <a:avLst/>
              </a:prstGeom>
              <a:solidFill>
                <a:schemeClr val="bg1"/>
              </a:solidFill>
              <a:ln w="0" cmpd="sng">
                <a:solidFill>
                  <a:schemeClr val="bg1">
                    <a:lumMod val="50000"/>
                  </a:schemeClr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>
                  <a:latin typeface="Calibri Light"/>
                </a:endParaRPr>
              </a:p>
            </p:txBody>
          </p:sp>
          <p:pic>
            <p:nvPicPr>
              <p:cNvPr id="68" name="Picture 4" descr="C:\Users\s5891736\Documents\Icons\Red and grey\wealth.png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16459" y="1759202"/>
                <a:ext cx="528246" cy="42419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9" name="Rectangle 68"/>
              <p:cNvSpPr/>
              <p:nvPr/>
            </p:nvSpPr>
            <p:spPr>
              <a:xfrm>
                <a:off x="5971977" y="1617357"/>
                <a:ext cx="2031992" cy="70788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n-CA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doption of </a:t>
                </a:r>
              </a:p>
              <a:p>
                <a:pPr>
                  <a:spcBef>
                    <a:spcPts val="0"/>
                  </a:spcBef>
                </a:pPr>
                <a:r>
                  <a:rPr lang="en-CA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gile mindset</a:t>
                </a:r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1090642" y="2765607"/>
              <a:ext cx="3378531" cy="1282535"/>
              <a:chOff x="1090642" y="2765607"/>
              <a:chExt cx="3378531" cy="1282535"/>
            </a:xfrm>
          </p:grpSpPr>
          <p:sp>
            <p:nvSpPr>
              <p:cNvPr id="62" name="Rounded Rectangle 61"/>
              <p:cNvSpPr/>
              <p:nvPr/>
            </p:nvSpPr>
            <p:spPr>
              <a:xfrm>
                <a:off x="1090642" y="2765607"/>
                <a:ext cx="3378531" cy="1282535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Oval 62"/>
              <p:cNvSpPr/>
              <p:nvPr/>
            </p:nvSpPr>
            <p:spPr bwMode="auto">
              <a:xfrm>
                <a:off x="1272639" y="2911738"/>
                <a:ext cx="976023" cy="990273"/>
              </a:xfrm>
              <a:prstGeom prst="ellipse">
                <a:avLst/>
              </a:prstGeom>
              <a:solidFill>
                <a:schemeClr val="bg1"/>
              </a:solidFill>
              <a:ln w="0" cmpd="sng">
                <a:solidFill>
                  <a:schemeClr val="bg1">
                    <a:lumMod val="50000"/>
                  </a:schemeClr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>
                  <a:latin typeface="Calibri Light"/>
                </a:endParaRPr>
              </a:p>
            </p:txBody>
          </p:sp>
          <p:pic>
            <p:nvPicPr>
              <p:cNvPr id="64" name="Picture 2" descr="C:\Users\s5891736\Documents\Icons\Red and grey\calendar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35491" y="3163892"/>
                <a:ext cx="478723" cy="46221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5" name="Rectangle 64"/>
              <p:cNvSpPr/>
              <p:nvPr/>
            </p:nvSpPr>
            <p:spPr>
              <a:xfrm>
                <a:off x="2406921" y="3206819"/>
                <a:ext cx="1880068" cy="4001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CA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rioritization</a:t>
                </a:r>
                <a:endPara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53" name="Group 52"/>
            <p:cNvGrpSpPr/>
            <p:nvPr/>
          </p:nvGrpSpPr>
          <p:grpSpPr>
            <a:xfrm>
              <a:off x="4635427" y="2765607"/>
              <a:ext cx="3378531" cy="1282535"/>
              <a:chOff x="4635427" y="2765607"/>
              <a:chExt cx="3378531" cy="1282535"/>
            </a:xfrm>
          </p:grpSpPr>
          <p:sp>
            <p:nvSpPr>
              <p:cNvPr id="54" name="Rounded Rectangle 53"/>
              <p:cNvSpPr/>
              <p:nvPr/>
            </p:nvSpPr>
            <p:spPr>
              <a:xfrm>
                <a:off x="4635427" y="2765607"/>
                <a:ext cx="3378531" cy="1282535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6" name="Oval 55"/>
              <p:cNvSpPr/>
              <p:nvPr/>
            </p:nvSpPr>
            <p:spPr bwMode="auto">
              <a:xfrm>
                <a:off x="4892571" y="2911738"/>
                <a:ext cx="976023" cy="990273"/>
              </a:xfrm>
              <a:prstGeom prst="ellipse">
                <a:avLst/>
              </a:prstGeom>
              <a:solidFill>
                <a:schemeClr val="bg1"/>
              </a:solidFill>
              <a:ln w="0" cmpd="sng">
                <a:solidFill>
                  <a:schemeClr val="bg1">
                    <a:lumMod val="50000"/>
                  </a:schemeClr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>
                  <a:latin typeface="Calibri Light"/>
                </a:endParaRPr>
              </a:p>
            </p:txBody>
          </p:sp>
          <p:sp>
            <p:nvSpPr>
              <p:cNvPr id="60" name="Rectangle 59"/>
              <p:cNvSpPr/>
              <p:nvPr/>
            </p:nvSpPr>
            <p:spPr>
              <a:xfrm>
                <a:off x="5971977" y="3052931"/>
                <a:ext cx="1923325" cy="70788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CA" sz="2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ustomer centric view </a:t>
                </a:r>
              </a:p>
            </p:txBody>
          </p:sp>
          <p:pic>
            <p:nvPicPr>
              <p:cNvPr id="61" name="Picture 2" descr="C:\Users\s5891736\Documents\Icons\Red and grey\customer.png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12471" y="3163257"/>
                <a:ext cx="567859" cy="46742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0480552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7426" y="329394"/>
            <a:ext cx="8789159" cy="264570"/>
          </a:xfrm>
        </p:spPr>
        <p:txBody>
          <a:bodyPr/>
          <a:lstStyle/>
          <a:p>
            <a:r>
              <a:rPr lang="en-CA" dirty="0"/>
              <a:t>BRINGING VALUE</a:t>
            </a:r>
            <a:endParaRPr lang="en-US" dirty="0"/>
          </a:p>
        </p:txBody>
      </p:sp>
      <p:sp>
        <p:nvSpPr>
          <p:cNvPr id="36" name="Rectangle 35"/>
          <p:cNvSpPr/>
          <p:nvPr/>
        </p:nvSpPr>
        <p:spPr>
          <a:xfrm>
            <a:off x="7151218" y="2260096"/>
            <a:ext cx="1415147" cy="1052870"/>
          </a:xfrm>
          <a:prstGeom prst="rect">
            <a:avLst/>
          </a:prstGeom>
        </p:spPr>
        <p:txBody>
          <a:bodyPr wrap="square" lIns="91436" tIns="45718" rIns="91436" bIns="45718" anchor="ctr">
            <a:noAutofit/>
          </a:bodyPr>
          <a:lstStyle/>
          <a:p>
            <a:pPr marL="171442" indent="-171442" algn="l" defTabSz="914355" eaLnBrk="1" hangingPunct="1">
              <a:lnSpc>
                <a:spcPct val="106000"/>
              </a:lnSpc>
              <a:spcBef>
                <a:spcPct val="0"/>
              </a:spcBef>
              <a:buClr>
                <a:srgbClr val="404040"/>
              </a:buClr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816895" y="1192009"/>
            <a:ext cx="2540434" cy="2819861"/>
            <a:chOff x="1674847" y="1192009"/>
            <a:chExt cx="2540434" cy="2819861"/>
          </a:xfrm>
        </p:grpSpPr>
        <p:sp>
          <p:nvSpPr>
            <p:cNvPr id="5" name="Oval 4"/>
            <p:cNvSpPr/>
            <p:nvPr/>
          </p:nvSpPr>
          <p:spPr bwMode="auto">
            <a:xfrm>
              <a:off x="1674847" y="1434346"/>
              <a:ext cx="2540434" cy="2577524"/>
            </a:xfrm>
            <a:prstGeom prst="ellipse">
              <a:avLst/>
            </a:prstGeom>
            <a:solidFill>
              <a:schemeClr val="bg1"/>
            </a:solidFill>
            <a:ln w="0" cmpd="sng">
              <a:solidFill>
                <a:schemeClr val="bg1">
                  <a:lumMod val="50000"/>
                </a:schemeClr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latin typeface="Calibri Light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1758293" y="2889362"/>
              <a:ext cx="238304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A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hree benefits to the </a:t>
              </a:r>
              <a:r>
                <a:rPr lang="en-CA" sz="2000" b="1" dirty="0">
                  <a:solidFill>
                    <a:srgbClr val="EC1B2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ustomer</a:t>
              </a:r>
              <a:endParaRPr lang="en-CA" b="1" dirty="0">
                <a:solidFill>
                  <a:srgbClr val="EC1B2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7" name="Picture 2" descr="C:\Users\s5891736\Documents\Icons\Red and grey\customer-single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82889" y="1933082"/>
              <a:ext cx="733849" cy="8821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ight Arrow 7"/>
            <p:cNvSpPr/>
            <p:nvPr/>
          </p:nvSpPr>
          <p:spPr>
            <a:xfrm rot="5400000">
              <a:off x="2707521" y="1127281"/>
              <a:ext cx="475083" cy="604539"/>
            </a:xfrm>
            <a:prstGeom prst="rightArrow">
              <a:avLst/>
            </a:prstGeom>
            <a:solidFill>
              <a:srgbClr val="EC1B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707171" y="1192009"/>
            <a:ext cx="2737096" cy="2821875"/>
            <a:chOff x="4565123" y="1192009"/>
            <a:chExt cx="2737096" cy="2821875"/>
          </a:xfrm>
        </p:grpSpPr>
        <p:sp>
          <p:nvSpPr>
            <p:cNvPr id="10" name="Oval 9"/>
            <p:cNvSpPr/>
            <p:nvPr/>
          </p:nvSpPr>
          <p:spPr bwMode="auto">
            <a:xfrm>
              <a:off x="4639703" y="1436361"/>
              <a:ext cx="2540434" cy="2577523"/>
            </a:xfrm>
            <a:prstGeom prst="ellipse">
              <a:avLst/>
            </a:prstGeom>
            <a:solidFill>
              <a:schemeClr val="bg1"/>
            </a:solidFill>
            <a:ln w="0" cmpd="sng">
              <a:solidFill>
                <a:schemeClr val="bg1">
                  <a:lumMod val="50000"/>
                </a:schemeClr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latin typeface="Calibri Light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565123" y="2891376"/>
              <a:ext cx="27370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A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hree benefits to the </a:t>
              </a:r>
              <a:br>
                <a:rPr lang="en-CA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CA" sz="2000" b="1" dirty="0">
                  <a:solidFill>
                    <a:srgbClr val="EC1B2E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ank</a:t>
              </a:r>
              <a:endParaRPr lang="en-CA" b="1" dirty="0">
                <a:solidFill>
                  <a:srgbClr val="EC1B2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2" name="Picture 3" descr="C:\Users\s5891736\Documents\Icons\Red and grey\bank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76385" y="1986819"/>
              <a:ext cx="902991" cy="8221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Right Arrow 12"/>
            <p:cNvSpPr/>
            <p:nvPr/>
          </p:nvSpPr>
          <p:spPr>
            <a:xfrm rot="5400000">
              <a:off x="5678463" y="1127281"/>
              <a:ext cx="475083" cy="604539"/>
            </a:xfrm>
            <a:prstGeom prst="rightArrow">
              <a:avLst/>
            </a:prstGeom>
            <a:solidFill>
              <a:srgbClr val="EC1B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7954078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7426" y="377885"/>
            <a:ext cx="8789159" cy="264570"/>
          </a:xfrm>
        </p:spPr>
        <p:txBody>
          <a:bodyPr/>
          <a:lstStyle/>
          <a:p>
            <a:r>
              <a:rPr lang="en-CA" dirty="0"/>
              <a:t>SUCCESSES TO DATE</a:t>
            </a:r>
            <a:endParaRPr lang="en-US" dirty="0"/>
          </a:p>
        </p:txBody>
      </p:sp>
      <p:sp>
        <p:nvSpPr>
          <p:cNvPr id="36" name="Rectangle 35"/>
          <p:cNvSpPr/>
          <p:nvPr/>
        </p:nvSpPr>
        <p:spPr>
          <a:xfrm>
            <a:off x="7151218" y="2260096"/>
            <a:ext cx="1415147" cy="1052870"/>
          </a:xfrm>
          <a:prstGeom prst="rect">
            <a:avLst/>
          </a:prstGeom>
        </p:spPr>
        <p:txBody>
          <a:bodyPr wrap="square" lIns="91436" tIns="45718" rIns="91436" bIns="45718" anchor="ctr">
            <a:noAutofit/>
          </a:bodyPr>
          <a:lstStyle/>
          <a:p>
            <a:pPr marL="171442" indent="-171442" algn="l" defTabSz="914355" eaLnBrk="1" hangingPunct="1">
              <a:lnSpc>
                <a:spcPct val="106000"/>
              </a:lnSpc>
              <a:spcBef>
                <a:spcPct val="0"/>
              </a:spcBef>
              <a:buClr>
                <a:srgbClr val="404040"/>
              </a:buClr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667155" y="952824"/>
            <a:ext cx="6516076" cy="3513226"/>
            <a:chOff x="1667155" y="952824"/>
            <a:chExt cx="6516076" cy="3513226"/>
          </a:xfrm>
        </p:grpSpPr>
        <p:grpSp>
          <p:nvGrpSpPr>
            <p:cNvPr id="10" name="Group 9"/>
            <p:cNvGrpSpPr/>
            <p:nvPr/>
          </p:nvGrpSpPr>
          <p:grpSpPr>
            <a:xfrm>
              <a:off x="1667155" y="1871377"/>
              <a:ext cx="6456616" cy="767036"/>
              <a:chOff x="1585883" y="1719860"/>
              <a:chExt cx="6456616" cy="767036"/>
            </a:xfrm>
          </p:grpSpPr>
          <p:sp>
            <p:nvSpPr>
              <p:cNvPr id="26" name="TextBox 25"/>
              <p:cNvSpPr txBox="1"/>
              <p:nvPr/>
            </p:nvSpPr>
            <p:spPr>
              <a:xfrm>
                <a:off x="2512791" y="1910343"/>
                <a:ext cx="5529708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CA" sz="20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rimmed </a:t>
                </a:r>
                <a:r>
                  <a:rPr lang="en-CA" sz="2000" dirty="0">
                    <a:solidFill>
                      <a:srgbClr val="FF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50 projects </a:t>
                </a:r>
                <a:r>
                  <a:rPr lang="en-CA" sz="20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o </a:t>
                </a:r>
                <a:r>
                  <a:rPr lang="en-CA" sz="2000" dirty="0">
                    <a:solidFill>
                      <a:srgbClr val="FF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9 focus priorities </a:t>
                </a:r>
              </a:p>
            </p:txBody>
          </p:sp>
          <p:grpSp>
            <p:nvGrpSpPr>
              <p:cNvPr id="27" name="Group 26"/>
              <p:cNvGrpSpPr/>
              <p:nvPr/>
            </p:nvGrpSpPr>
            <p:grpSpPr>
              <a:xfrm>
                <a:off x="1585883" y="1719860"/>
                <a:ext cx="756000" cy="767036"/>
                <a:chOff x="1594761" y="1719860"/>
                <a:chExt cx="756000" cy="767036"/>
              </a:xfrm>
            </p:grpSpPr>
            <p:sp>
              <p:nvSpPr>
                <p:cNvPr id="28" name="Oval 27"/>
                <p:cNvSpPr>
                  <a:spLocks noChangeAspect="1"/>
                </p:cNvSpPr>
                <p:nvPr/>
              </p:nvSpPr>
              <p:spPr bwMode="auto">
                <a:xfrm>
                  <a:off x="1594761" y="1719860"/>
                  <a:ext cx="756000" cy="767036"/>
                </a:xfrm>
                <a:prstGeom prst="ellipse">
                  <a:avLst/>
                </a:prstGeom>
                <a:solidFill>
                  <a:schemeClr val="bg1"/>
                </a:solidFill>
                <a:ln w="0" cmpd="sng">
                  <a:solidFill>
                    <a:schemeClr val="bg1">
                      <a:lumMod val="50000"/>
                    </a:schemeClr>
                  </a:solidFill>
                  <a:prstDash val="sysDash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dirty="0">
                    <a:latin typeface="Calibri Light"/>
                  </a:endParaRPr>
                </a:p>
              </p:txBody>
            </p:sp>
            <p:pic>
              <p:nvPicPr>
                <p:cNvPr id="29" name="Picture 4" descr="C:\Users\s5891736\Documents\Icons\Red and grey\tools.png"/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756761" y="1896303"/>
                  <a:ext cx="432000" cy="41415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grpSp>
          <p:nvGrpSpPr>
            <p:cNvPr id="11" name="Group 10"/>
            <p:cNvGrpSpPr/>
            <p:nvPr/>
          </p:nvGrpSpPr>
          <p:grpSpPr>
            <a:xfrm>
              <a:off x="1667155" y="2772174"/>
              <a:ext cx="6516076" cy="767036"/>
              <a:chOff x="1645062" y="2638413"/>
              <a:chExt cx="6516076" cy="767036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2631430" y="2821876"/>
                <a:ext cx="5529708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CA" sz="20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In </a:t>
                </a:r>
                <a:r>
                  <a:rPr lang="en-CA" sz="2000" dirty="0">
                    <a:solidFill>
                      <a:srgbClr val="FF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2 months, 9 Labs </a:t>
                </a:r>
                <a:r>
                  <a:rPr lang="en-CA" sz="20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were up and running 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1645062" y="2638413"/>
                <a:ext cx="756000" cy="767036"/>
                <a:chOff x="1645062" y="2638413"/>
                <a:chExt cx="756000" cy="767036"/>
              </a:xfrm>
            </p:grpSpPr>
            <p:sp>
              <p:nvSpPr>
                <p:cNvPr id="24" name="Oval 23"/>
                <p:cNvSpPr>
                  <a:spLocks noChangeAspect="1"/>
                </p:cNvSpPr>
                <p:nvPr/>
              </p:nvSpPr>
              <p:spPr bwMode="auto">
                <a:xfrm>
                  <a:off x="1645062" y="2638413"/>
                  <a:ext cx="756000" cy="767036"/>
                </a:xfrm>
                <a:prstGeom prst="ellipse">
                  <a:avLst/>
                </a:prstGeom>
                <a:solidFill>
                  <a:schemeClr val="bg1"/>
                </a:solidFill>
                <a:ln w="0" cmpd="sng">
                  <a:solidFill>
                    <a:schemeClr val="bg1">
                      <a:lumMod val="50000"/>
                    </a:schemeClr>
                  </a:solidFill>
                  <a:prstDash val="sysDash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dirty="0">
                    <a:latin typeface="Calibri Light"/>
                  </a:endParaRPr>
                </a:p>
              </p:txBody>
            </p:sp>
            <p:pic>
              <p:nvPicPr>
                <p:cNvPr id="25" name="Picture 3" descr="C:\Users\s5891736\Documents\Icons\Red and grey\Lab.png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861306" y="2767481"/>
                  <a:ext cx="331491" cy="5040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grpSp>
          <p:nvGrpSpPr>
            <p:cNvPr id="12" name="Group 11"/>
            <p:cNvGrpSpPr/>
            <p:nvPr/>
          </p:nvGrpSpPr>
          <p:grpSpPr>
            <a:xfrm>
              <a:off x="1692419" y="3699014"/>
              <a:ext cx="6490812" cy="767036"/>
              <a:chOff x="1594761" y="3539210"/>
              <a:chExt cx="6490812" cy="767036"/>
            </a:xfrm>
          </p:grpSpPr>
          <p:sp>
            <p:nvSpPr>
              <p:cNvPr id="18" name="TextBox 17"/>
              <p:cNvSpPr txBox="1"/>
              <p:nvPr/>
            </p:nvSpPr>
            <p:spPr>
              <a:xfrm>
                <a:off x="2555865" y="3722673"/>
                <a:ext cx="5529708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CA" sz="20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Up to </a:t>
                </a:r>
                <a:r>
                  <a:rPr lang="en-CA" sz="2000" dirty="0">
                    <a:solidFill>
                      <a:srgbClr val="FF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50% reduction </a:t>
                </a:r>
                <a:r>
                  <a:rPr lang="en-CA" sz="20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in delivery time </a:t>
                </a:r>
              </a:p>
            </p:txBody>
          </p:sp>
          <p:grpSp>
            <p:nvGrpSpPr>
              <p:cNvPr id="19" name="Group 18"/>
              <p:cNvGrpSpPr/>
              <p:nvPr/>
            </p:nvGrpSpPr>
            <p:grpSpPr>
              <a:xfrm>
                <a:off x="1594761" y="3539210"/>
                <a:ext cx="756000" cy="767036"/>
                <a:chOff x="1594761" y="3539210"/>
                <a:chExt cx="756000" cy="767036"/>
              </a:xfrm>
            </p:grpSpPr>
            <p:sp>
              <p:nvSpPr>
                <p:cNvPr id="20" name="Oval 19"/>
                <p:cNvSpPr>
                  <a:spLocks noChangeAspect="1"/>
                </p:cNvSpPr>
                <p:nvPr/>
              </p:nvSpPr>
              <p:spPr bwMode="auto">
                <a:xfrm>
                  <a:off x="1594761" y="3539210"/>
                  <a:ext cx="756000" cy="767036"/>
                </a:xfrm>
                <a:prstGeom prst="ellipse">
                  <a:avLst/>
                </a:prstGeom>
                <a:solidFill>
                  <a:schemeClr val="bg1"/>
                </a:solidFill>
                <a:ln w="0" cmpd="sng">
                  <a:solidFill>
                    <a:schemeClr val="bg1">
                      <a:lumMod val="50000"/>
                    </a:schemeClr>
                  </a:solidFill>
                  <a:prstDash val="sysDash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dirty="0">
                    <a:latin typeface="Calibri Light"/>
                  </a:endParaRPr>
                </a:p>
              </p:txBody>
            </p:sp>
            <p:pic>
              <p:nvPicPr>
                <p:cNvPr id="21" name="Picture 2" descr="C:\Users\s5891736\Documents\Icons\Red and grey\time2.png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711883" y="3679606"/>
                  <a:ext cx="504000" cy="5040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grpSp>
          <p:nvGrpSpPr>
            <p:cNvPr id="13" name="Group 12"/>
            <p:cNvGrpSpPr/>
            <p:nvPr/>
          </p:nvGrpSpPr>
          <p:grpSpPr>
            <a:xfrm>
              <a:off x="1667155" y="952824"/>
              <a:ext cx="4426999" cy="767036"/>
              <a:chOff x="1588214" y="759757"/>
              <a:chExt cx="4426999" cy="767036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2515122" y="943220"/>
                <a:ext cx="3500091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CA" sz="2000" dirty="0">
                    <a:solidFill>
                      <a:srgbClr val="FF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Highly engaged </a:t>
                </a:r>
                <a:r>
                  <a:rPr lang="en-CA" sz="20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taff </a:t>
                </a:r>
              </a:p>
            </p:txBody>
          </p:sp>
          <p:grpSp>
            <p:nvGrpSpPr>
              <p:cNvPr id="15" name="Group 14"/>
              <p:cNvGrpSpPr/>
              <p:nvPr/>
            </p:nvGrpSpPr>
            <p:grpSpPr>
              <a:xfrm>
                <a:off x="1588214" y="759757"/>
                <a:ext cx="756000" cy="767036"/>
                <a:chOff x="1588214" y="759757"/>
                <a:chExt cx="756000" cy="767036"/>
              </a:xfrm>
            </p:grpSpPr>
            <p:sp>
              <p:nvSpPr>
                <p:cNvPr id="16" name="Oval 15"/>
                <p:cNvSpPr>
                  <a:spLocks noChangeAspect="1"/>
                </p:cNvSpPr>
                <p:nvPr/>
              </p:nvSpPr>
              <p:spPr bwMode="auto">
                <a:xfrm>
                  <a:off x="1588214" y="759757"/>
                  <a:ext cx="756000" cy="767036"/>
                </a:xfrm>
                <a:prstGeom prst="ellipse">
                  <a:avLst/>
                </a:prstGeom>
                <a:solidFill>
                  <a:schemeClr val="bg1"/>
                </a:solidFill>
                <a:ln w="0" cmpd="sng">
                  <a:solidFill>
                    <a:schemeClr val="bg1">
                      <a:lumMod val="50000"/>
                    </a:schemeClr>
                  </a:solidFill>
                  <a:prstDash val="sysDash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dirty="0">
                    <a:latin typeface="Calibri Light"/>
                  </a:endParaRPr>
                </a:p>
              </p:txBody>
            </p:sp>
            <p:pic>
              <p:nvPicPr>
                <p:cNvPr id="17" name="Picture 3" descr="C:\Users\s5891736\Documents\Icons\Red and grey\group.png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732214" y="976723"/>
                  <a:ext cx="468000" cy="33310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</p:grpSp>
      <p:sp>
        <p:nvSpPr>
          <p:cNvPr id="30" name="Isosceles Triangle 29"/>
          <p:cNvSpPr/>
          <p:nvPr/>
        </p:nvSpPr>
        <p:spPr>
          <a:xfrm rot="5400000">
            <a:off x="-867189" y="2382922"/>
            <a:ext cx="3192422" cy="626773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437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76594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CIQLASTID" val="43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90,90,90,Dark 1"/>
  <p:tag name="MIO_MST_COLOR_2" val="255,255,255,Light 1"/>
  <p:tag name="MIO_MST_COLOR_3" val="150,150,150,Dark 2"/>
  <p:tag name="MIO_MST_COLOR_4" val="90,90,90,Light 2"/>
  <p:tag name="MIO_MST_COLOR_5" val="190,190,190,Accent 1"/>
  <p:tag name="MIO_MST_COLOR_6" val="90,90,90,Accent 2"/>
  <p:tag name="MIO_MST_COLOR_7" val="61,151,201,Accent 3"/>
  <p:tag name="MIO_MST_COLOR_8" val="31,74,126,Accent 4"/>
  <p:tag name="MIO_MST_COLOR_9" val="133,189,159,Accent 5"/>
  <p:tag name="MIO_MST_COLOR_10" val="13,135,93,Accent 6"/>
  <p:tag name="MIO_MST_COLOR_11" val="0,112,192,"/>
  <p:tag name="MIO_MST_COLOR_12" val="0,32,96,"/>
  <p:tag name="MIO_PRESI_FIRST_SLIDENUMBER" val="0"/>
  <p:tag name="MIO_HDS" val="True"/>
  <p:tag name="MIO_EK" val="1022"/>
  <p:tag name="MIO_UPDATE" val="True"/>
  <p:tag name="MIO_VERSION" val="19.04.2016 10:48:24"/>
  <p:tag name="MIO_DBID" val="49A94486-8699-45CA-BCF6-817FD8BE40CC"/>
  <p:tag name="MIO_LASTDOWNLOADED" val="19.04.2016 10:51:54"/>
  <p:tag name="MIO_OBJECTNAME" val="GBM Master"/>
  <p:tag name="MIO_LASTEDITORNAME" val="Chris Barry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QKNOWNTEXT" val="Da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IQKNOWNTEXT" val="Transition Slide"/>
</p:tagLst>
</file>

<file path=ppt/theme/theme1.xml><?xml version="1.0" encoding="utf-8"?>
<a:theme xmlns:a="http://schemas.openxmlformats.org/drawingml/2006/main" name="2016_PowerPoint_Template_VFinal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lank">
  <a:themeElements>
    <a:clrScheme name="Scotia Colour Theme">
      <a:dk1>
        <a:srgbClr val="5A5A5A"/>
      </a:dk1>
      <a:lt1>
        <a:srgbClr val="FFFFFF"/>
      </a:lt1>
      <a:dk2>
        <a:srgbClr val="969696"/>
      </a:dk2>
      <a:lt2>
        <a:srgbClr val="5A5A5A"/>
      </a:lt2>
      <a:accent1>
        <a:srgbClr val="BEBEBE"/>
      </a:accent1>
      <a:accent2>
        <a:srgbClr val="5A5A5A"/>
      </a:accent2>
      <a:accent3>
        <a:srgbClr val="3D97C9"/>
      </a:accent3>
      <a:accent4>
        <a:srgbClr val="1F4A7E"/>
      </a:accent4>
      <a:accent5>
        <a:srgbClr val="85BD9F"/>
      </a:accent5>
      <a:accent6>
        <a:srgbClr val="0D875D"/>
      </a:accent6>
      <a:hlink>
        <a:srgbClr val="0070C0"/>
      </a:hlink>
      <a:folHlink>
        <a:srgbClr val="002060"/>
      </a:folHlink>
    </a:clrScheme>
    <a:fontScheme name="SB Font (Arial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C1B2E"/>
        </a:solidFill>
        <a:ln cap="flat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spAutoFit/>
      </a:bodyPr>
      <a:lstStyle>
        <a:defPPr algn="l">
          <a:spcBef>
            <a:spcPts val="0"/>
          </a:spcBef>
          <a:spcAft>
            <a:spcPts val="600"/>
          </a:spcAft>
          <a:buSzPct val="90000"/>
          <a:defRPr sz="1200" dirty="0" err="1" smtClean="0">
            <a:solidFill>
              <a:schemeClr val="accent2"/>
            </a:solidFill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6_PowerPoint_Template_VFinal</Template>
  <TotalTime>16786</TotalTime>
  <Words>177</Words>
  <Application>Microsoft Office PowerPoint</Application>
  <PresentationFormat>On-screen Show (16:9)</PresentationFormat>
  <Paragraphs>51</Paragraphs>
  <Slides>7</Slides>
  <Notes>7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Calibri Light</vt:lpstr>
      <vt:lpstr>Wingdings</vt:lpstr>
      <vt:lpstr>2016_PowerPoint_Template_VFinal</vt:lpstr>
      <vt:lpstr>blank</vt:lpstr>
      <vt:lpstr>GLOBAL BUSINESS PAYMENTS: An agile transformation story</vt:lpstr>
      <vt:lpstr>GLOBAL BUSINESS PAYMENTS: AT A GLANCE</vt:lpstr>
      <vt:lpstr>THE JOURNEY</vt:lpstr>
      <vt:lpstr>FOUNDATION FOR SUCCESS</vt:lpstr>
      <vt:lpstr>BRINGING VALUE</vt:lpstr>
      <vt:lpstr>SUCCESSES TO DATE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Natalie Mitrovich</dc:creator>
  <cp:lastModifiedBy>Andrew Chornenky (GBM)</cp:lastModifiedBy>
  <cp:revision>1312</cp:revision>
  <cp:lastPrinted>2017-08-04T13:22:02Z</cp:lastPrinted>
  <dcterms:created xsi:type="dcterms:W3CDTF">2016-01-28T22:52:02Z</dcterms:created>
  <dcterms:modified xsi:type="dcterms:W3CDTF">2018-06-11T14:36:09Z</dcterms:modified>
</cp:coreProperties>
</file>